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93455" r:id="rId4"/>
  </p:sldMasterIdLst>
  <p:notesMasterIdLst>
    <p:notesMasterId r:id="rId25"/>
  </p:notesMasterIdLst>
  <p:handoutMasterIdLst>
    <p:handoutMasterId r:id="rId26"/>
  </p:handoutMasterIdLst>
  <p:sldIdLst>
    <p:sldId id="256" r:id="rId5"/>
    <p:sldId id="257" r:id="rId6"/>
    <p:sldId id="259" r:id="rId7"/>
    <p:sldId id="269" r:id="rId8"/>
    <p:sldId id="267" r:id="rId9"/>
    <p:sldId id="270" r:id="rId10"/>
    <p:sldId id="272" r:id="rId11"/>
    <p:sldId id="273" r:id="rId12"/>
    <p:sldId id="271" r:id="rId13"/>
    <p:sldId id="274" r:id="rId14"/>
    <p:sldId id="275" r:id="rId15"/>
    <p:sldId id="279" r:id="rId16"/>
    <p:sldId id="278" r:id="rId17"/>
    <p:sldId id="280" r:id="rId18"/>
    <p:sldId id="281" r:id="rId19"/>
    <p:sldId id="276" r:id="rId20"/>
    <p:sldId id="277" r:id="rId21"/>
    <p:sldId id="260" r:id="rId22"/>
    <p:sldId id="264" r:id="rId23"/>
    <p:sldId id="263" r:id="rId24"/>
  </p:sldIdLst>
  <p:sldSz cx="12192000" cy="6858000"/>
  <p:notesSz cx="6805613" cy="9939338"/>
  <p:custDataLst>
    <p:tags r:id="rId27"/>
  </p:custDataLst>
  <p:defaultTextStyle>
    <a:defPPr>
      <a:defRPr lang="en-US"/>
    </a:defPPr>
    <a:lvl1pPr marL="0" algn="l" defTabSz="6093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393" algn="l" defTabSz="6093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8786" algn="l" defTabSz="6093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180" algn="l" defTabSz="6093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7572" algn="l" defTabSz="6093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6964" algn="l" defTabSz="6093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6357" algn="l" defTabSz="6093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5752" algn="l" defTabSz="6093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5144" algn="l" defTabSz="6093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äsentation" id="{FBA2C438-A406-4D32-8E1A-DC4A692BCB94}">
          <p14:sldIdLst>
            <p14:sldId id="256"/>
            <p14:sldId id="257"/>
            <p14:sldId id="259"/>
            <p14:sldId id="269"/>
          </p14:sldIdLst>
        </p14:section>
        <p14:section name="Go Introduced" id="{A326A0D1-E7E9-4042-BBF1-7B082A291B78}">
          <p14:sldIdLst>
            <p14:sldId id="267"/>
            <p14:sldId id="270"/>
            <p14:sldId id="272"/>
            <p14:sldId id="273"/>
            <p14:sldId id="271"/>
            <p14:sldId id="274"/>
          </p14:sldIdLst>
        </p14:section>
        <p14:section name="Microservice Basics" id="{58AA4FA3-AE19-4FD2-92C0-2B76B58DD6BC}">
          <p14:sldIdLst>
            <p14:sldId id="275"/>
            <p14:sldId id="279"/>
            <p14:sldId id="278"/>
          </p14:sldIdLst>
        </p14:section>
        <p14:section name="Implement" id="{7014F730-3337-4C72-85B6-DA909950A57F}">
          <p14:sldIdLst>
            <p14:sldId id="280"/>
            <p14:sldId id="281"/>
            <p14:sldId id="276"/>
            <p14:sldId id="277"/>
          </p14:sldIdLst>
        </p14:section>
        <p14:section name="Erklärungsfolien" id="{7421DB15-0944-4194-A22D-9AC828BA0DDB}">
          <p14:sldIdLst>
            <p14:sldId id="260"/>
            <p14:sldId id="264"/>
            <p14:sldId id="263"/>
          </p14:sldIdLst>
        </p14:section>
      </p14:sectionLst>
    </p:ext>
    <p:ext uri="{EFAFB233-063F-42B5-8137-9DF3F51BA10A}">
      <p15:sldGuideLst xmlns:p15="http://schemas.microsoft.com/office/powerpoint/2012/main">
        <p15:guide id="22" orient="horz" pos="5504" userDrawn="1">
          <p15:clr>
            <a:srgbClr val="A4A3A4"/>
          </p15:clr>
        </p15:guide>
        <p15:guide id="23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2918">
          <p15:clr>
            <a:srgbClr val="A4A3A4"/>
          </p15:clr>
        </p15:guide>
        <p15:guide id="4" orient="horz" pos="2779">
          <p15:clr>
            <a:srgbClr val="A4A3A4"/>
          </p15:clr>
        </p15:guide>
        <p15:guide id="5" orient="horz" pos="431">
          <p15:clr>
            <a:srgbClr val="A4A3A4"/>
          </p15:clr>
        </p15:guide>
        <p15:guide id="6" orient="horz" pos="5793">
          <p15:clr>
            <a:srgbClr val="A4A3A4"/>
          </p15:clr>
        </p15:guide>
        <p15:guide id="7" orient="horz" pos="5966">
          <p15:clr>
            <a:srgbClr val="A4A3A4"/>
          </p15:clr>
        </p15:guide>
        <p15:guide id="8" orient="horz" pos="6089">
          <p15:clr>
            <a:srgbClr val="A4A3A4"/>
          </p15:clr>
        </p15:guide>
        <p15:guide id="9" orient="horz" pos="318">
          <p15:clr>
            <a:srgbClr val="A4A3A4"/>
          </p15:clr>
        </p15:guide>
        <p15:guide id="10" orient="horz" pos="197">
          <p15:clr>
            <a:srgbClr val="A4A3A4"/>
          </p15:clr>
        </p15:guide>
        <p15:guide id="11" pos="591">
          <p15:clr>
            <a:srgbClr val="A4A3A4"/>
          </p15:clr>
        </p15:guide>
        <p15:guide id="12" pos="3719">
          <p15:clr>
            <a:srgbClr val="A4A3A4"/>
          </p15:clr>
        </p15:guide>
        <p15:guide id="13" orient="horz" pos="2200">
          <p15:clr>
            <a:srgbClr val="A4A3A4"/>
          </p15:clr>
        </p15:guide>
        <p15:guide id="14" orient="horz" pos="2518">
          <p15:clr>
            <a:srgbClr val="A4A3A4"/>
          </p15:clr>
        </p15:guide>
        <p15:guide id="15" orient="horz" pos="2495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4"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8CB93-72AF-4B7A-B805-8FA3DC21B429}" v="49" dt="2021-03-16T14:42:06.449"/>
  </p1510:revLst>
</p1510:revInfo>
</file>

<file path=ppt/tableStyles.xml><?xml version="1.0" encoding="utf-8"?>
<a:tblStyleLst xmlns:a="http://schemas.openxmlformats.org/drawingml/2006/main" def="{E8B1032C-EA38-4F05-BA0D-38AFFFC7BED3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6D9F66E-5EB9-4882-86FB-DCBF35E3C3E4}" styleName="Mittlere Formatvorlage 4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2838BEF-8BB2-4498-84A7-C5851F593DF1}" styleName="Mittlere Formatvorlage 4 - Akz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35758FB7-9AC5-4552-8A53-C91805E547FA}" styleName="Designformatvorlage 1 - Akz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DA37D80-6434-44D0-A028-1B22A696006F}" styleName="Helle Formatvorlage 3 - Akz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214" autoAdjust="0"/>
  </p:normalViewPr>
  <p:slideViewPr>
    <p:cSldViewPr snapToObjects="1">
      <p:cViewPr varScale="1">
        <p:scale>
          <a:sx n="103" d="100"/>
          <a:sy n="103" d="100"/>
        </p:scale>
        <p:origin x="84" y="300"/>
      </p:cViewPr>
      <p:guideLst>
        <p:guide orient="horz" pos="5504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33" d="100"/>
        <a:sy n="33" d="100"/>
      </p:scale>
      <p:origin x="0" y="0"/>
    </p:cViewPr>
  </p:sorterViewPr>
  <p:notesViewPr>
    <p:cSldViewPr snapToObjects="1" showGuides="1">
      <p:cViewPr>
        <p:scale>
          <a:sx n="125" d="100"/>
          <a:sy n="125" d="100"/>
        </p:scale>
        <p:origin x="2967" y="-531"/>
      </p:cViewPr>
      <p:guideLst>
        <p:guide orient="horz" pos="2160"/>
        <p:guide pos="2880"/>
        <p:guide orient="horz" pos="2918"/>
        <p:guide orient="horz" pos="2779"/>
        <p:guide orient="horz" pos="431"/>
        <p:guide orient="horz" pos="5793"/>
        <p:guide orient="horz" pos="5966"/>
        <p:guide orient="horz" pos="6089"/>
        <p:guide orient="horz" pos="318"/>
        <p:guide orient="horz" pos="197"/>
        <p:guide pos="591"/>
        <p:guide pos="3719"/>
        <p:guide orient="horz" pos="2200"/>
        <p:guide orient="horz" pos="2518"/>
        <p:guide orient="horz" pos="249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33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ochen Grün (ISO)" userId="88af28a8-8d87-4808-ab0d-95c5adee42cd" providerId="ADAL" clId="{BAA8CB93-72AF-4B7A-B805-8FA3DC21B429}"/>
    <pc:docChg chg="undo custSel addSld delSld modSld sldOrd addSection delSection modSection">
      <pc:chgData name="Jochen Grün (ISO)" userId="88af28a8-8d87-4808-ab0d-95c5adee42cd" providerId="ADAL" clId="{BAA8CB93-72AF-4B7A-B805-8FA3DC21B429}" dt="2021-03-16T14:50:40.235" v="4720" actId="20577"/>
      <pc:docMkLst>
        <pc:docMk/>
      </pc:docMkLst>
      <pc:sldChg chg="modSp mod">
        <pc:chgData name="Jochen Grün (ISO)" userId="88af28a8-8d87-4808-ab0d-95c5adee42cd" providerId="ADAL" clId="{BAA8CB93-72AF-4B7A-B805-8FA3DC21B429}" dt="2021-03-09T08:54:32.756" v="77" actId="20577"/>
        <pc:sldMkLst>
          <pc:docMk/>
          <pc:sldMk cId="84961126" sldId="257"/>
        </pc:sldMkLst>
        <pc:spChg chg="mod">
          <ac:chgData name="Jochen Grün (ISO)" userId="88af28a8-8d87-4808-ab0d-95c5adee42cd" providerId="ADAL" clId="{BAA8CB93-72AF-4B7A-B805-8FA3DC21B429}" dt="2021-03-09T08:54:25.126" v="56" actId="6549"/>
          <ac:spMkLst>
            <pc:docMk/>
            <pc:sldMk cId="84961126" sldId="257"/>
            <ac:spMk id="2" creationId="{00000000-0000-0000-0000-000000000000}"/>
          </ac:spMkLst>
        </pc:spChg>
        <pc:spChg chg="mod">
          <ac:chgData name="Jochen Grün (ISO)" userId="88af28a8-8d87-4808-ab0d-95c5adee42cd" providerId="ADAL" clId="{BAA8CB93-72AF-4B7A-B805-8FA3DC21B429}" dt="2021-03-09T08:15:07.416" v="35" actId="20577"/>
          <ac:spMkLst>
            <pc:docMk/>
            <pc:sldMk cId="84961126" sldId="257"/>
            <ac:spMk id="3" creationId="{00000000-0000-0000-0000-000000000000}"/>
          </ac:spMkLst>
        </pc:spChg>
        <pc:spChg chg="mod">
          <ac:chgData name="Jochen Grün (ISO)" userId="88af28a8-8d87-4808-ab0d-95c5adee42cd" providerId="ADAL" clId="{BAA8CB93-72AF-4B7A-B805-8FA3DC21B429}" dt="2021-03-09T08:54:32.756" v="77" actId="20577"/>
          <ac:spMkLst>
            <pc:docMk/>
            <pc:sldMk cId="84961126" sldId="257"/>
            <ac:spMk id="4" creationId="{00000000-0000-0000-0000-000000000000}"/>
          </ac:spMkLst>
        </pc:spChg>
      </pc:sldChg>
      <pc:sldChg chg="modSp mod">
        <pc:chgData name="Jochen Grün (ISO)" userId="88af28a8-8d87-4808-ab0d-95c5adee42cd" providerId="ADAL" clId="{BAA8CB93-72AF-4B7A-B805-8FA3DC21B429}" dt="2021-03-09T08:54:53.082" v="87" actId="20577"/>
        <pc:sldMkLst>
          <pc:docMk/>
          <pc:sldMk cId="4046527789" sldId="259"/>
        </pc:sldMkLst>
        <pc:spChg chg="mod">
          <ac:chgData name="Jochen Grün (ISO)" userId="88af28a8-8d87-4808-ab0d-95c5adee42cd" providerId="ADAL" clId="{BAA8CB93-72AF-4B7A-B805-8FA3DC21B429}" dt="2021-03-09T08:54:53.082" v="87" actId="20577"/>
          <ac:spMkLst>
            <pc:docMk/>
            <pc:sldMk cId="4046527789" sldId="259"/>
            <ac:spMk id="7" creationId="{00000000-0000-0000-0000-000000000000}"/>
          </ac:spMkLst>
        </pc:spChg>
      </pc:sldChg>
      <pc:sldChg chg="del">
        <pc:chgData name="Jochen Grün (ISO)" userId="88af28a8-8d87-4808-ab0d-95c5adee42cd" providerId="ADAL" clId="{BAA8CB93-72AF-4B7A-B805-8FA3DC21B429}" dt="2021-03-15T05:49:32.344" v="2642" actId="47"/>
        <pc:sldMkLst>
          <pc:docMk/>
          <pc:sldMk cId="1798307320" sldId="261"/>
        </pc:sldMkLst>
      </pc:sldChg>
      <pc:sldChg chg="del">
        <pc:chgData name="Jochen Grün (ISO)" userId="88af28a8-8d87-4808-ab0d-95c5adee42cd" providerId="ADAL" clId="{BAA8CB93-72AF-4B7A-B805-8FA3DC21B429}" dt="2021-03-15T05:49:32.344" v="2642" actId="47"/>
        <pc:sldMkLst>
          <pc:docMk/>
          <pc:sldMk cId="1407793980" sldId="262"/>
        </pc:sldMkLst>
      </pc:sldChg>
      <pc:sldChg chg="del">
        <pc:chgData name="Jochen Grün (ISO)" userId="88af28a8-8d87-4808-ab0d-95c5adee42cd" providerId="ADAL" clId="{BAA8CB93-72AF-4B7A-B805-8FA3DC21B429}" dt="2021-03-09T08:54:38.667" v="78" actId="47"/>
        <pc:sldMkLst>
          <pc:docMk/>
          <pc:sldMk cId="989129646" sldId="266"/>
        </pc:sldMkLst>
      </pc:sldChg>
      <pc:sldChg chg="modSp mod">
        <pc:chgData name="Jochen Grün (ISO)" userId="88af28a8-8d87-4808-ab0d-95c5adee42cd" providerId="ADAL" clId="{BAA8CB93-72AF-4B7A-B805-8FA3DC21B429}" dt="2021-03-09T09:16:13.399" v="736" actId="20577"/>
        <pc:sldMkLst>
          <pc:docMk/>
          <pc:sldMk cId="3476204507" sldId="267"/>
        </pc:sldMkLst>
        <pc:spChg chg="mod">
          <ac:chgData name="Jochen Grün (ISO)" userId="88af28a8-8d87-4808-ab0d-95c5adee42cd" providerId="ADAL" clId="{BAA8CB93-72AF-4B7A-B805-8FA3DC21B429}" dt="2021-03-09T09:16:13.399" v="736" actId="20577"/>
          <ac:spMkLst>
            <pc:docMk/>
            <pc:sldMk cId="3476204507" sldId="267"/>
            <ac:spMk id="12" creationId="{00000000-0000-0000-0000-000000000000}"/>
          </ac:spMkLst>
        </pc:spChg>
        <pc:spChg chg="mod">
          <ac:chgData name="Jochen Grün (ISO)" userId="88af28a8-8d87-4808-ab0d-95c5adee42cd" providerId="ADAL" clId="{BAA8CB93-72AF-4B7A-B805-8FA3DC21B429}" dt="2021-03-09T09:10:51.506" v="581" actId="313"/>
          <ac:spMkLst>
            <pc:docMk/>
            <pc:sldMk cId="3476204507" sldId="267"/>
            <ac:spMk id="20" creationId="{00000000-0000-0000-0000-000000000000}"/>
          </ac:spMkLst>
        </pc:spChg>
      </pc:sldChg>
      <pc:sldChg chg="add del">
        <pc:chgData name="Jochen Grün (ISO)" userId="88af28a8-8d87-4808-ab0d-95c5adee42cd" providerId="ADAL" clId="{BAA8CB93-72AF-4B7A-B805-8FA3DC21B429}" dt="2021-03-15T05:49:32.344" v="2642" actId="47"/>
        <pc:sldMkLst>
          <pc:docMk/>
          <pc:sldMk cId="336388165" sldId="268"/>
        </pc:sldMkLst>
      </pc:sldChg>
      <pc:sldChg chg="new del">
        <pc:chgData name="Jochen Grün (ISO)" userId="88af28a8-8d87-4808-ab0d-95c5adee42cd" providerId="ADAL" clId="{BAA8CB93-72AF-4B7A-B805-8FA3DC21B429}" dt="2021-03-09T08:57:35.960" v="283" actId="47"/>
        <pc:sldMkLst>
          <pc:docMk/>
          <pc:sldMk cId="2536871133" sldId="268"/>
        </pc:sldMkLst>
      </pc:sldChg>
      <pc:sldChg chg="modSp new mod">
        <pc:chgData name="Jochen Grün (ISO)" userId="88af28a8-8d87-4808-ab0d-95c5adee42cd" providerId="ADAL" clId="{BAA8CB93-72AF-4B7A-B805-8FA3DC21B429}" dt="2021-03-10T06:58:38.095" v="796" actId="20577"/>
        <pc:sldMkLst>
          <pc:docMk/>
          <pc:sldMk cId="3037371977" sldId="269"/>
        </pc:sldMkLst>
        <pc:spChg chg="mod">
          <ac:chgData name="Jochen Grün (ISO)" userId="88af28a8-8d87-4808-ab0d-95c5adee42cd" providerId="ADAL" clId="{BAA8CB93-72AF-4B7A-B805-8FA3DC21B429}" dt="2021-03-10T06:58:38.095" v="796" actId="20577"/>
          <ac:spMkLst>
            <pc:docMk/>
            <pc:sldMk cId="3037371977" sldId="269"/>
            <ac:spMk id="2" creationId="{ED18F5FB-DFAF-4392-8C4B-793940041213}"/>
          </ac:spMkLst>
        </pc:spChg>
      </pc:sldChg>
      <pc:sldChg chg="addSp delSp modSp new mod">
        <pc:chgData name="Jochen Grün (ISO)" userId="88af28a8-8d87-4808-ab0d-95c5adee42cd" providerId="ADAL" clId="{BAA8CB93-72AF-4B7A-B805-8FA3DC21B429}" dt="2021-03-10T07:12:55.643" v="868" actId="313"/>
        <pc:sldMkLst>
          <pc:docMk/>
          <pc:sldMk cId="406116970" sldId="270"/>
        </pc:sldMkLst>
        <pc:spChg chg="del mod">
          <ac:chgData name="Jochen Grün (ISO)" userId="88af28a8-8d87-4808-ab0d-95c5adee42cd" providerId="ADAL" clId="{BAA8CB93-72AF-4B7A-B805-8FA3DC21B429}" dt="2021-03-10T07:11:22.128" v="855" actId="478"/>
          <ac:spMkLst>
            <pc:docMk/>
            <pc:sldMk cId="406116970" sldId="270"/>
            <ac:spMk id="2" creationId="{E5CC4F6D-33CF-42C3-A9F7-0E72D6AC098B}"/>
          </ac:spMkLst>
        </pc:spChg>
        <pc:spChg chg="mod">
          <ac:chgData name="Jochen Grün (ISO)" userId="88af28a8-8d87-4808-ab0d-95c5adee42cd" providerId="ADAL" clId="{BAA8CB93-72AF-4B7A-B805-8FA3DC21B429}" dt="2021-03-10T07:12:55.643" v="868" actId="313"/>
          <ac:spMkLst>
            <pc:docMk/>
            <pc:sldMk cId="406116970" sldId="270"/>
            <ac:spMk id="7" creationId="{DF59C516-515A-4AF8-9F69-4CA3558CB085}"/>
          </ac:spMkLst>
        </pc:spChg>
        <pc:picChg chg="add mod">
          <ac:chgData name="Jochen Grün (ISO)" userId="88af28a8-8d87-4808-ab0d-95c5adee42cd" providerId="ADAL" clId="{BAA8CB93-72AF-4B7A-B805-8FA3DC21B429}" dt="2021-03-10T07:12:44.907" v="864" actId="1076"/>
          <ac:picMkLst>
            <pc:docMk/>
            <pc:sldMk cId="406116970" sldId="270"/>
            <ac:picMk id="8" creationId="{A6A1F346-44FF-4142-A3A4-86B184BE13C9}"/>
          </ac:picMkLst>
        </pc:picChg>
        <pc:picChg chg="add del mod">
          <ac:chgData name="Jochen Grün (ISO)" userId="88af28a8-8d87-4808-ab0d-95c5adee42cd" providerId="ADAL" clId="{BAA8CB93-72AF-4B7A-B805-8FA3DC21B429}" dt="2021-03-10T07:12:21.249" v="860" actId="478"/>
          <ac:picMkLst>
            <pc:docMk/>
            <pc:sldMk cId="406116970" sldId="270"/>
            <ac:picMk id="9" creationId="{7341BAFA-0CBE-48BF-BEC0-74008913D340}"/>
          </ac:picMkLst>
        </pc:picChg>
        <pc:picChg chg="add mod">
          <ac:chgData name="Jochen Grün (ISO)" userId="88af28a8-8d87-4808-ab0d-95c5adee42cd" providerId="ADAL" clId="{BAA8CB93-72AF-4B7A-B805-8FA3DC21B429}" dt="2021-03-10T07:12:26.303" v="862" actId="1076"/>
          <ac:picMkLst>
            <pc:docMk/>
            <pc:sldMk cId="406116970" sldId="270"/>
            <ac:picMk id="10" creationId="{D4D1C0C0-E2F3-45E7-9F83-1DCD0AFB73DA}"/>
          </ac:picMkLst>
        </pc:picChg>
      </pc:sldChg>
      <pc:sldChg chg="modSp new mod">
        <pc:chgData name="Jochen Grün (ISO)" userId="88af28a8-8d87-4808-ab0d-95c5adee42cd" providerId="ADAL" clId="{BAA8CB93-72AF-4B7A-B805-8FA3DC21B429}" dt="2021-03-15T06:03:54.891" v="3956" actId="20577"/>
        <pc:sldMkLst>
          <pc:docMk/>
          <pc:sldMk cId="2700646792" sldId="271"/>
        </pc:sldMkLst>
        <pc:spChg chg="mod">
          <ac:chgData name="Jochen Grün (ISO)" userId="88af28a8-8d87-4808-ab0d-95c5adee42cd" providerId="ADAL" clId="{BAA8CB93-72AF-4B7A-B805-8FA3DC21B429}" dt="2021-03-15T06:03:54.891" v="3956" actId="20577"/>
          <ac:spMkLst>
            <pc:docMk/>
            <pc:sldMk cId="2700646792" sldId="271"/>
            <ac:spMk id="2" creationId="{83208DC2-F530-4691-9476-F2E42EA0176A}"/>
          </ac:spMkLst>
        </pc:spChg>
        <pc:spChg chg="mod">
          <ac:chgData name="Jochen Grün (ISO)" userId="88af28a8-8d87-4808-ab0d-95c5adee42cd" providerId="ADAL" clId="{BAA8CB93-72AF-4B7A-B805-8FA3DC21B429}" dt="2021-03-12T08:44:01.278" v="879" actId="20577"/>
          <ac:spMkLst>
            <pc:docMk/>
            <pc:sldMk cId="2700646792" sldId="271"/>
            <ac:spMk id="7" creationId="{45C35AED-8839-4A0E-A8C2-BF8A4BC9BD39}"/>
          </ac:spMkLst>
        </pc:spChg>
      </pc:sldChg>
      <pc:sldChg chg="modSp new mod">
        <pc:chgData name="Jochen Grün (ISO)" userId="88af28a8-8d87-4808-ab0d-95c5adee42cd" providerId="ADAL" clId="{BAA8CB93-72AF-4B7A-B805-8FA3DC21B429}" dt="2021-03-12T09:05:13.527" v="2109" actId="20577"/>
        <pc:sldMkLst>
          <pc:docMk/>
          <pc:sldMk cId="2138001812" sldId="272"/>
        </pc:sldMkLst>
        <pc:spChg chg="mod">
          <ac:chgData name="Jochen Grün (ISO)" userId="88af28a8-8d87-4808-ab0d-95c5adee42cd" providerId="ADAL" clId="{BAA8CB93-72AF-4B7A-B805-8FA3DC21B429}" dt="2021-03-12T09:05:13.527" v="2109" actId="20577"/>
          <ac:spMkLst>
            <pc:docMk/>
            <pc:sldMk cId="2138001812" sldId="272"/>
            <ac:spMk id="2" creationId="{D85A0810-21B7-4F31-B88B-4A8FD3389F56}"/>
          </ac:spMkLst>
        </pc:spChg>
        <pc:spChg chg="mod">
          <ac:chgData name="Jochen Grün (ISO)" userId="88af28a8-8d87-4808-ab0d-95c5adee42cd" providerId="ADAL" clId="{BAA8CB93-72AF-4B7A-B805-8FA3DC21B429}" dt="2021-03-12T08:46:26.321" v="1108" actId="20577"/>
          <ac:spMkLst>
            <pc:docMk/>
            <pc:sldMk cId="2138001812" sldId="272"/>
            <ac:spMk id="7" creationId="{7C1F98F7-1E5F-405D-8EB9-2A53AD6F343B}"/>
          </ac:spMkLst>
        </pc:spChg>
      </pc:sldChg>
      <pc:sldChg chg="modSp new mod ord">
        <pc:chgData name="Jochen Grün (ISO)" userId="88af28a8-8d87-4808-ab0d-95c5adee42cd" providerId="ADAL" clId="{BAA8CB93-72AF-4B7A-B805-8FA3DC21B429}" dt="2021-03-12T09:04:55.602" v="2105" actId="20577"/>
        <pc:sldMkLst>
          <pc:docMk/>
          <pc:sldMk cId="938989098" sldId="273"/>
        </pc:sldMkLst>
        <pc:spChg chg="mod">
          <ac:chgData name="Jochen Grün (ISO)" userId="88af28a8-8d87-4808-ab0d-95c5adee42cd" providerId="ADAL" clId="{BAA8CB93-72AF-4B7A-B805-8FA3DC21B429}" dt="2021-03-12T09:04:55.602" v="2105" actId="20577"/>
          <ac:spMkLst>
            <pc:docMk/>
            <pc:sldMk cId="938989098" sldId="273"/>
            <ac:spMk id="2" creationId="{AA3F5A86-F022-4C21-9E1B-20FFE2EE76C8}"/>
          </ac:spMkLst>
        </pc:spChg>
        <pc:spChg chg="mod">
          <ac:chgData name="Jochen Grün (ISO)" userId="88af28a8-8d87-4808-ab0d-95c5adee42cd" providerId="ADAL" clId="{BAA8CB93-72AF-4B7A-B805-8FA3DC21B429}" dt="2021-03-12T09:03:39.476" v="1946" actId="20577"/>
          <ac:spMkLst>
            <pc:docMk/>
            <pc:sldMk cId="938989098" sldId="273"/>
            <ac:spMk id="7" creationId="{42F15420-2F83-422D-92CF-44D0793F52AB}"/>
          </ac:spMkLst>
        </pc:spChg>
      </pc:sldChg>
      <pc:sldChg chg="addSp modSp add mod">
        <pc:chgData name="Jochen Grün (ISO)" userId="88af28a8-8d87-4808-ab0d-95c5adee42cd" providerId="ADAL" clId="{BAA8CB93-72AF-4B7A-B805-8FA3DC21B429}" dt="2021-03-15T05:47:20.987" v="2575" actId="20577"/>
        <pc:sldMkLst>
          <pc:docMk/>
          <pc:sldMk cId="2163039191" sldId="274"/>
        </pc:sldMkLst>
        <pc:spChg chg="mod">
          <ac:chgData name="Jochen Grün (ISO)" userId="88af28a8-8d87-4808-ab0d-95c5adee42cd" providerId="ADAL" clId="{BAA8CB93-72AF-4B7A-B805-8FA3DC21B429}" dt="2021-03-15T05:47:20.987" v="2575" actId="20577"/>
          <ac:spMkLst>
            <pc:docMk/>
            <pc:sldMk cId="2163039191" sldId="274"/>
            <ac:spMk id="2" creationId="{83208DC2-F530-4691-9476-F2E42EA0176A}"/>
          </ac:spMkLst>
        </pc:spChg>
        <pc:spChg chg="mod">
          <ac:chgData name="Jochen Grün (ISO)" userId="88af28a8-8d87-4808-ab0d-95c5adee42cd" providerId="ADAL" clId="{BAA8CB93-72AF-4B7A-B805-8FA3DC21B429}" dt="2021-03-15T05:39:21.809" v="2124" actId="20577"/>
          <ac:spMkLst>
            <pc:docMk/>
            <pc:sldMk cId="2163039191" sldId="274"/>
            <ac:spMk id="7" creationId="{45C35AED-8839-4A0E-A8C2-BF8A4BC9BD39}"/>
          </ac:spMkLst>
        </pc:spChg>
        <pc:picChg chg="add mod">
          <ac:chgData name="Jochen Grün (ISO)" userId="88af28a8-8d87-4808-ab0d-95c5adee42cd" providerId="ADAL" clId="{BAA8CB93-72AF-4B7A-B805-8FA3DC21B429}" dt="2021-03-15T05:44:45.725" v="2434" actId="1076"/>
          <ac:picMkLst>
            <pc:docMk/>
            <pc:sldMk cId="2163039191" sldId="274"/>
            <ac:picMk id="8" creationId="{28481313-A05D-4A33-888C-3B769C8AAEDD}"/>
          </ac:picMkLst>
        </pc:picChg>
      </pc:sldChg>
      <pc:sldChg chg="modSp add mod">
        <pc:chgData name="Jochen Grün (ISO)" userId="88af28a8-8d87-4808-ab0d-95c5adee42cd" providerId="ADAL" clId="{BAA8CB93-72AF-4B7A-B805-8FA3DC21B429}" dt="2021-03-15T06:05:08.531" v="3982" actId="21"/>
        <pc:sldMkLst>
          <pc:docMk/>
          <pc:sldMk cId="1131073763" sldId="275"/>
        </pc:sldMkLst>
        <pc:spChg chg="mod">
          <ac:chgData name="Jochen Grün (ISO)" userId="88af28a8-8d87-4808-ab0d-95c5adee42cd" providerId="ADAL" clId="{BAA8CB93-72AF-4B7A-B805-8FA3DC21B429}" dt="2021-03-15T06:05:08.531" v="3982" actId="21"/>
          <ac:spMkLst>
            <pc:docMk/>
            <pc:sldMk cId="1131073763" sldId="275"/>
            <ac:spMk id="12" creationId="{00000000-0000-0000-0000-000000000000}"/>
          </ac:spMkLst>
        </pc:spChg>
        <pc:spChg chg="mod">
          <ac:chgData name="Jochen Grün (ISO)" userId="88af28a8-8d87-4808-ab0d-95c5adee42cd" providerId="ADAL" clId="{BAA8CB93-72AF-4B7A-B805-8FA3DC21B429}" dt="2021-03-15T05:49:09.904" v="2602" actId="20577"/>
          <ac:spMkLst>
            <pc:docMk/>
            <pc:sldMk cId="1131073763" sldId="275"/>
            <ac:spMk id="20" creationId="{00000000-0000-0000-0000-000000000000}"/>
          </ac:spMkLst>
        </pc:spChg>
      </pc:sldChg>
      <pc:sldChg chg="add">
        <pc:chgData name="Jochen Grün (ISO)" userId="88af28a8-8d87-4808-ab0d-95c5adee42cd" providerId="ADAL" clId="{BAA8CB93-72AF-4B7A-B805-8FA3DC21B429}" dt="2021-03-15T05:48:53.584" v="2578"/>
        <pc:sldMkLst>
          <pc:docMk/>
          <pc:sldMk cId="1359432118" sldId="276"/>
        </pc:sldMkLst>
      </pc:sldChg>
      <pc:sldChg chg="add">
        <pc:chgData name="Jochen Grün (ISO)" userId="88af28a8-8d87-4808-ab0d-95c5adee42cd" providerId="ADAL" clId="{BAA8CB93-72AF-4B7A-B805-8FA3DC21B429}" dt="2021-03-15T05:48:53.584" v="2578"/>
        <pc:sldMkLst>
          <pc:docMk/>
          <pc:sldMk cId="1313454330" sldId="277"/>
        </pc:sldMkLst>
      </pc:sldChg>
      <pc:sldChg chg="modSp add mod">
        <pc:chgData name="Jochen Grün (ISO)" userId="88af28a8-8d87-4808-ab0d-95c5adee42cd" providerId="ADAL" clId="{BAA8CB93-72AF-4B7A-B805-8FA3DC21B429}" dt="2021-03-15T06:01:29.755" v="3662" actId="5793"/>
        <pc:sldMkLst>
          <pc:docMk/>
          <pc:sldMk cId="4236185673" sldId="278"/>
        </pc:sldMkLst>
        <pc:spChg chg="mod">
          <ac:chgData name="Jochen Grün (ISO)" userId="88af28a8-8d87-4808-ab0d-95c5adee42cd" providerId="ADAL" clId="{BAA8CB93-72AF-4B7A-B805-8FA3DC21B429}" dt="2021-03-15T06:01:29.755" v="3662" actId="5793"/>
          <ac:spMkLst>
            <pc:docMk/>
            <pc:sldMk cId="4236185673" sldId="278"/>
            <ac:spMk id="12" creationId="{00000000-0000-0000-0000-000000000000}"/>
          </ac:spMkLst>
        </pc:spChg>
      </pc:sldChg>
      <pc:sldChg chg="modSp new mod">
        <pc:chgData name="Jochen Grün (ISO)" userId="88af28a8-8d87-4808-ab0d-95c5adee42cd" providerId="ADAL" clId="{BAA8CB93-72AF-4B7A-B805-8FA3DC21B429}" dt="2021-03-15T06:05:39.748" v="4039" actId="20577"/>
        <pc:sldMkLst>
          <pc:docMk/>
          <pc:sldMk cId="1607626914" sldId="279"/>
        </pc:sldMkLst>
        <pc:spChg chg="mod">
          <ac:chgData name="Jochen Grün (ISO)" userId="88af28a8-8d87-4808-ab0d-95c5adee42cd" providerId="ADAL" clId="{BAA8CB93-72AF-4B7A-B805-8FA3DC21B429}" dt="2021-03-15T06:05:10.209" v="3983"/>
          <ac:spMkLst>
            <pc:docMk/>
            <pc:sldMk cId="1607626914" sldId="279"/>
            <ac:spMk id="2" creationId="{E28A2183-B446-4C59-852A-6CFCC6033758}"/>
          </ac:spMkLst>
        </pc:spChg>
        <pc:spChg chg="mod">
          <ac:chgData name="Jochen Grün (ISO)" userId="88af28a8-8d87-4808-ab0d-95c5adee42cd" providerId="ADAL" clId="{BAA8CB93-72AF-4B7A-B805-8FA3DC21B429}" dt="2021-03-15T06:05:39.748" v="4039" actId="20577"/>
          <ac:spMkLst>
            <pc:docMk/>
            <pc:sldMk cId="1607626914" sldId="279"/>
            <ac:spMk id="7" creationId="{E6F15F24-3FC3-4CE5-B35B-9EC87EB04829}"/>
          </ac:spMkLst>
        </pc:spChg>
      </pc:sldChg>
      <pc:sldChg chg="add del">
        <pc:chgData name="Jochen Grün (ISO)" userId="88af28a8-8d87-4808-ab0d-95c5adee42cd" providerId="ADAL" clId="{BAA8CB93-72AF-4B7A-B805-8FA3DC21B429}" dt="2021-03-15T05:49:25.619" v="2641"/>
        <pc:sldMkLst>
          <pc:docMk/>
          <pc:sldMk cId="2355436002" sldId="279"/>
        </pc:sldMkLst>
      </pc:sldChg>
      <pc:sldChg chg="addSp modSp new mod">
        <pc:chgData name="Jochen Grün (ISO)" userId="88af28a8-8d87-4808-ab0d-95c5adee42cd" providerId="ADAL" clId="{BAA8CB93-72AF-4B7A-B805-8FA3DC21B429}" dt="2021-03-16T14:43:18.368" v="4489" actId="1037"/>
        <pc:sldMkLst>
          <pc:docMk/>
          <pc:sldMk cId="1760532454" sldId="280"/>
        </pc:sldMkLst>
        <pc:spChg chg="mod">
          <ac:chgData name="Jochen Grün (ISO)" userId="88af28a8-8d87-4808-ab0d-95c5adee42cd" providerId="ADAL" clId="{BAA8CB93-72AF-4B7A-B805-8FA3DC21B429}" dt="2021-03-16T14:38:09.530" v="4329" actId="14100"/>
          <ac:spMkLst>
            <pc:docMk/>
            <pc:sldMk cId="1760532454" sldId="280"/>
            <ac:spMk id="2" creationId="{7BD8B8E5-2DCA-4F55-B5E0-9928B11BE25A}"/>
          </ac:spMkLst>
        </pc:spChg>
        <pc:spChg chg="mod">
          <ac:chgData name="Jochen Grün (ISO)" userId="88af28a8-8d87-4808-ab0d-95c5adee42cd" providerId="ADAL" clId="{BAA8CB93-72AF-4B7A-B805-8FA3DC21B429}" dt="2021-03-16T14:15:27.071" v="4061" actId="20577"/>
          <ac:spMkLst>
            <pc:docMk/>
            <pc:sldMk cId="1760532454" sldId="280"/>
            <ac:spMk id="7" creationId="{5FE00A5B-7EC6-4556-93EC-537B3153A2CD}"/>
          </ac:spMkLst>
        </pc:spChg>
        <pc:spChg chg="add mod">
          <ac:chgData name="Jochen Grün (ISO)" userId="88af28a8-8d87-4808-ab0d-95c5adee42cd" providerId="ADAL" clId="{BAA8CB93-72AF-4B7A-B805-8FA3DC21B429}" dt="2021-03-16T14:39:37.288" v="4359" actId="1076"/>
          <ac:spMkLst>
            <pc:docMk/>
            <pc:sldMk cId="1760532454" sldId="280"/>
            <ac:spMk id="8" creationId="{AAD36CCC-68BD-487B-8E6D-FF1D33976304}"/>
          </ac:spMkLst>
        </pc:spChg>
        <pc:spChg chg="add mod ord">
          <ac:chgData name="Jochen Grün (ISO)" userId="88af28a8-8d87-4808-ab0d-95c5adee42cd" providerId="ADAL" clId="{BAA8CB93-72AF-4B7A-B805-8FA3DC21B429}" dt="2021-03-16T14:39:49.837" v="4371" actId="14100"/>
          <ac:spMkLst>
            <pc:docMk/>
            <pc:sldMk cId="1760532454" sldId="280"/>
            <ac:spMk id="9" creationId="{F1C52CBB-CBD8-4A3E-ABBC-97677586DE7A}"/>
          </ac:spMkLst>
        </pc:spChg>
        <pc:spChg chg="add mod">
          <ac:chgData name="Jochen Grün (ISO)" userId="88af28a8-8d87-4808-ab0d-95c5adee42cd" providerId="ADAL" clId="{BAA8CB93-72AF-4B7A-B805-8FA3DC21B429}" dt="2021-03-16T14:39:55.150" v="4372" actId="1076"/>
          <ac:spMkLst>
            <pc:docMk/>
            <pc:sldMk cId="1760532454" sldId="280"/>
            <ac:spMk id="10" creationId="{9290276C-5BD3-4D85-AFC0-4480FC0B4FBA}"/>
          </ac:spMkLst>
        </pc:spChg>
        <pc:spChg chg="add mod">
          <ac:chgData name="Jochen Grün (ISO)" userId="88af28a8-8d87-4808-ab0d-95c5adee42cd" providerId="ADAL" clId="{BAA8CB93-72AF-4B7A-B805-8FA3DC21B429}" dt="2021-03-16T14:43:00.122" v="4483" actId="20577"/>
          <ac:spMkLst>
            <pc:docMk/>
            <pc:sldMk cId="1760532454" sldId="280"/>
            <ac:spMk id="13" creationId="{6C38403F-FE6E-44E1-BFC3-2093125B85BB}"/>
          </ac:spMkLst>
        </pc:spChg>
        <pc:spChg chg="add mod">
          <ac:chgData name="Jochen Grün (ISO)" userId="88af28a8-8d87-4808-ab0d-95c5adee42cd" providerId="ADAL" clId="{BAA8CB93-72AF-4B7A-B805-8FA3DC21B429}" dt="2021-03-16T14:43:10.462" v="4484" actId="1076"/>
          <ac:spMkLst>
            <pc:docMk/>
            <pc:sldMk cId="1760532454" sldId="280"/>
            <ac:spMk id="14" creationId="{BF6EA866-9CD2-4A91-80C4-50237ACD9B98}"/>
          </ac:spMkLst>
        </pc:spChg>
        <pc:spChg chg="add mod">
          <ac:chgData name="Jochen Grün (ISO)" userId="88af28a8-8d87-4808-ab0d-95c5adee42cd" providerId="ADAL" clId="{BAA8CB93-72AF-4B7A-B805-8FA3DC21B429}" dt="2021-03-16T14:43:18.368" v="4489" actId="1037"/>
          <ac:spMkLst>
            <pc:docMk/>
            <pc:sldMk cId="1760532454" sldId="280"/>
            <ac:spMk id="18" creationId="{1CF6D87D-FE8C-4B58-86E4-18253432FEEA}"/>
          </ac:spMkLst>
        </pc:spChg>
        <pc:spChg chg="add mod">
          <ac:chgData name="Jochen Grün (ISO)" userId="88af28a8-8d87-4808-ab0d-95c5adee42cd" providerId="ADAL" clId="{BAA8CB93-72AF-4B7A-B805-8FA3DC21B429}" dt="2021-03-16T14:43:14.080" v="4485" actId="1038"/>
          <ac:spMkLst>
            <pc:docMk/>
            <pc:sldMk cId="1760532454" sldId="280"/>
            <ac:spMk id="22" creationId="{128D219D-459D-486F-9DBC-A2427A6821E4}"/>
          </ac:spMkLst>
        </pc:spChg>
        <pc:cxnChg chg="add">
          <ac:chgData name="Jochen Grün (ISO)" userId="88af28a8-8d87-4808-ab0d-95c5adee42cd" providerId="ADAL" clId="{BAA8CB93-72AF-4B7A-B805-8FA3DC21B429}" dt="2021-03-16T14:40:07.301" v="4373" actId="11529"/>
          <ac:cxnSpMkLst>
            <pc:docMk/>
            <pc:sldMk cId="1760532454" sldId="280"/>
            <ac:cxnSpMk id="12" creationId="{4F2E5A91-92BD-42FA-A414-C9A2B6869CAB}"/>
          </ac:cxnSpMkLst>
        </pc:cxnChg>
        <pc:cxnChg chg="add mod">
          <ac:chgData name="Jochen Grün (ISO)" userId="88af28a8-8d87-4808-ab0d-95c5adee42cd" providerId="ADAL" clId="{BAA8CB93-72AF-4B7A-B805-8FA3DC21B429}" dt="2021-03-16T14:43:10.462" v="4484" actId="1076"/>
          <ac:cxnSpMkLst>
            <pc:docMk/>
            <pc:sldMk cId="1760532454" sldId="280"/>
            <ac:cxnSpMk id="15" creationId="{51FC3294-A2A1-4BDF-B6CE-D865961E602C}"/>
          </ac:cxnSpMkLst>
        </pc:cxnChg>
        <pc:cxnChg chg="add mod">
          <ac:chgData name="Jochen Grün (ISO)" userId="88af28a8-8d87-4808-ab0d-95c5adee42cd" providerId="ADAL" clId="{BAA8CB93-72AF-4B7A-B805-8FA3DC21B429}" dt="2021-03-16T14:43:10.462" v="4484" actId="1076"/>
          <ac:cxnSpMkLst>
            <pc:docMk/>
            <pc:sldMk cId="1760532454" sldId="280"/>
            <ac:cxnSpMk id="19" creationId="{CD112CD9-A871-4538-B714-BB9131178978}"/>
          </ac:cxnSpMkLst>
        </pc:cxnChg>
      </pc:sldChg>
      <pc:sldChg chg="new del">
        <pc:chgData name="Jochen Grün (ISO)" userId="88af28a8-8d87-4808-ab0d-95c5adee42cd" providerId="ADAL" clId="{BAA8CB93-72AF-4B7A-B805-8FA3DC21B429}" dt="2021-03-16T14:37:12.078" v="4285" actId="47"/>
        <pc:sldMkLst>
          <pc:docMk/>
          <pc:sldMk cId="1875846823" sldId="281"/>
        </pc:sldMkLst>
      </pc:sldChg>
      <pc:sldChg chg="modSp new mod">
        <pc:chgData name="Jochen Grün (ISO)" userId="88af28a8-8d87-4808-ab0d-95c5adee42cd" providerId="ADAL" clId="{BAA8CB93-72AF-4B7A-B805-8FA3DC21B429}" dt="2021-03-16T14:50:40.235" v="4720" actId="20577"/>
        <pc:sldMkLst>
          <pc:docMk/>
          <pc:sldMk cId="2556071921" sldId="281"/>
        </pc:sldMkLst>
        <pc:spChg chg="mod">
          <ac:chgData name="Jochen Grün (ISO)" userId="88af28a8-8d87-4808-ab0d-95c5adee42cd" providerId="ADAL" clId="{BAA8CB93-72AF-4B7A-B805-8FA3DC21B429}" dt="2021-03-16T14:50:40.235" v="4720" actId="20577"/>
          <ac:spMkLst>
            <pc:docMk/>
            <pc:sldMk cId="2556071921" sldId="281"/>
            <ac:spMk id="2" creationId="{C80B1C29-60A2-4043-AD89-450961D27774}"/>
          </ac:spMkLst>
        </pc:spChg>
        <pc:spChg chg="mod">
          <ac:chgData name="Jochen Grün (ISO)" userId="88af28a8-8d87-4808-ab0d-95c5adee42cd" providerId="ADAL" clId="{BAA8CB93-72AF-4B7A-B805-8FA3DC21B429}" dt="2021-03-16T14:37:21.344" v="4307" actId="20577"/>
          <ac:spMkLst>
            <pc:docMk/>
            <pc:sldMk cId="2556071921" sldId="281"/>
            <ac:spMk id="7" creationId="{295BC36C-75BA-4AF5-ADF4-EAB7102C115B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Gruppieren 62"/>
          <p:cNvGrpSpPr/>
          <p:nvPr/>
        </p:nvGrpSpPr>
        <p:grpSpPr bwMode="gray">
          <a:xfrm>
            <a:off x="-154558" y="-155482"/>
            <a:ext cx="7114729" cy="10250302"/>
            <a:chOff x="-155748" y="-143040"/>
            <a:chExt cx="7169496" cy="9430081"/>
          </a:xfrm>
        </p:grpSpPr>
        <p:grpSp>
          <p:nvGrpSpPr>
            <p:cNvPr id="64" name="Gruppieren 63"/>
            <p:cNvGrpSpPr/>
            <p:nvPr/>
          </p:nvGrpSpPr>
          <p:grpSpPr bwMode="gray">
            <a:xfrm>
              <a:off x="-155748" y="253998"/>
              <a:ext cx="7169496" cy="8672517"/>
              <a:chOff x="-174801" y="253998"/>
              <a:chExt cx="7169496" cy="8672517"/>
            </a:xfrm>
          </p:grpSpPr>
          <p:grpSp>
            <p:nvGrpSpPr>
              <p:cNvPr id="72" name="Gruppieren 71"/>
              <p:cNvGrpSpPr/>
              <p:nvPr/>
            </p:nvGrpSpPr>
            <p:grpSpPr bwMode="gray">
              <a:xfrm>
                <a:off x="-174801" y="253998"/>
                <a:ext cx="57496" cy="8672517"/>
                <a:chOff x="-174801" y="253998"/>
                <a:chExt cx="57496" cy="8672517"/>
              </a:xfrm>
            </p:grpSpPr>
            <p:sp>
              <p:nvSpPr>
                <p:cNvPr id="82" name="Gleichschenkliges Dreieck 81"/>
                <p:cNvSpPr/>
                <p:nvPr/>
              </p:nvSpPr>
              <p:spPr bwMode="gray">
                <a:xfrm rot="5400000">
                  <a:off x="-179384" y="258596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83" name="Gleichschenkliges Dreieck 82"/>
                <p:cNvSpPr/>
                <p:nvPr/>
              </p:nvSpPr>
              <p:spPr bwMode="gray">
                <a:xfrm rot="5400000">
                  <a:off x="-179385" y="439573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84" name="Gleichschenkliges Dreieck 83"/>
                <p:cNvSpPr/>
                <p:nvPr/>
              </p:nvSpPr>
              <p:spPr bwMode="gray">
                <a:xfrm rot="5400000">
                  <a:off x="-179386" y="582447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85" name="Gleichschenkliges Dreieck 84"/>
                <p:cNvSpPr/>
                <p:nvPr/>
              </p:nvSpPr>
              <p:spPr bwMode="gray">
                <a:xfrm rot="5400000">
                  <a:off x="-179392" y="3190877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86" name="Gleichschenkliges Dreieck 85"/>
                <p:cNvSpPr/>
                <p:nvPr/>
              </p:nvSpPr>
              <p:spPr bwMode="gray">
                <a:xfrm rot="5400000">
                  <a:off x="-179393" y="3512839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87" name="Gleichschenkliges Dreieck 86"/>
                <p:cNvSpPr/>
                <p:nvPr/>
              </p:nvSpPr>
              <p:spPr bwMode="gray">
                <a:xfrm rot="5400000">
                  <a:off x="-179397" y="8429460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88" name="Gleichschenkliges Dreieck 87"/>
                <p:cNvSpPr/>
                <p:nvPr/>
              </p:nvSpPr>
              <p:spPr bwMode="gray">
                <a:xfrm rot="5400000">
                  <a:off x="-179398" y="8683459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89" name="Gleichschenkliges Dreieck 88"/>
                <p:cNvSpPr/>
                <p:nvPr/>
              </p:nvSpPr>
              <p:spPr bwMode="gray">
                <a:xfrm rot="5400000">
                  <a:off x="-179399" y="8864435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</p:grpSp>
          <p:grpSp>
            <p:nvGrpSpPr>
              <p:cNvPr id="73" name="Gruppieren 72"/>
              <p:cNvGrpSpPr/>
              <p:nvPr/>
            </p:nvGrpSpPr>
            <p:grpSpPr bwMode="gray">
              <a:xfrm flipH="1">
                <a:off x="6937199" y="253998"/>
                <a:ext cx="57496" cy="8672517"/>
                <a:chOff x="-174801" y="253998"/>
                <a:chExt cx="57496" cy="8672517"/>
              </a:xfrm>
            </p:grpSpPr>
            <p:sp>
              <p:nvSpPr>
                <p:cNvPr id="74" name="Gleichschenkliges Dreieck 73"/>
                <p:cNvSpPr/>
                <p:nvPr/>
              </p:nvSpPr>
              <p:spPr bwMode="gray">
                <a:xfrm rot="5400000">
                  <a:off x="-179384" y="258596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75" name="Gleichschenkliges Dreieck 74"/>
                <p:cNvSpPr/>
                <p:nvPr/>
              </p:nvSpPr>
              <p:spPr bwMode="gray">
                <a:xfrm rot="5400000">
                  <a:off x="-179385" y="439573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76" name="Gleichschenkliges Dreieck 75"/>
                <p:cNvSpPr/>
                <p:nvPr/>
              </p:nvSpPr>
              <p:spPr bwMode="gray">
                <a:xfrm rot="5400000">
                  <a:off x="-179386" y="582447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77" name="Gleichschenkliges Dreieck 76"/>
                <p:cNvSpPr/>
                <p:nvPr/>
              </p:nvSpPr>
              <p:spPr bwMode="gray">
                <a:xfrm rot="5400000">
                  <a:off x="-179391" y="3190877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78" name="Gleichschenkliges Dreieck 77"/>
                <p:cNvSpPr/>
                <p:nvPr/>
              </p:nvSpPr>
              <p:spPr bwMode="gray">
                <a:xfrm rot="5400000">
                  <a:off x="-179392" y="3512839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79" name="Gleichschenkliges Dreieck 78"/>
                <p:cNvSpPr/>
                <p:nvPr/>
              </p:nvSpPr>
              <p:spPr bwMode="gray">
                <a:xfrm rot="5400000">
                  <a:off x="-179397" y="8429460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80" name="Gleichschenkliges Dreieck 79"/>
                <p:cNvSpPr/>
                <p:nvPr/>
              </p:nvSpPr>
              <p:spPr bwMode="gray">
                <a:xfrm rot="5400000">
                  <a:off x="-179398" y="8683459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81" name="Gleichschenkliges Dreieck 80"/>
                <p:cNvSpPr/>
                <p:nvPr/>
              </p:nvSpPr>
              <p:spPr bwMode="gray">
                <a:xfrm rot="5400000">
                  <a:off x="-179399" y="8864435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</p:grpSp>
        </p:grpSp>
        <p:grpSp>
          <p:nvGrpSpPr>
            <p:cNvPr id="65" name="Gruppieren 64"/>
            <p:cNvGrpSpPr/>
            <p:nvPr/>
          </p:nvGrpSpPr>
          <p:grpSpPr bwMode="gray">
            <a:xfrm>
              <a:off x="911223" y="-143040"/>
              <a:ext cx="5072066" cy="9430081"/>
              <a:chOff x="911223" y="-158975"/>
              <a:chExt cx="5072066" cy="9430081"/>
            </a:xfrm>
          </p:grpSpPr>
          <p:grpSp>
            <p:nvGrpSpPr>
              <p:cNvPr id="66" name="Gruppieren 65"/>
              <p:cNvGrpSpPr/>
              <p:nvPr/>
            </p:nvGrpSpPr>
            <p:grpSpPr bwMode="gray">
              <a:xfrm>
                <a:off x="911223" y="-158975"/>
                <a:ext cx="5072066" cy="57481"/>
                <a:chOff x="911223" y="-158975"/>
                <a:chExt cx="5072066" cy="57481"/>
              </a:xfrm>
            </p:grpSpPr>
            <p:sp>
              <p:nvSpPr>
                <p:cNvPr id="70" name="Gleichschenkliges Dreieck 69"/>
                <p:cNvSpPr/>
                <p:nvPr/>
              </p:nvSpPr>
              <p:spPr bwMode="gray">
                <a:xfrm rot="10800000">
                  <a:off x="911223" y="-158975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71" name="Gleichschenkliges Dreieck 70"/>
                <p:cNvSpPr/>
                <p:nvPr/>
              </p:nvSpPr>
              <p:spPr bwMode="gray">
                <a:xfrm rot="10800000">
                  <a:off x="5916611" y="-158975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</p:grpSp>
          <p:grpSp>
            <p:nvGrpSpPr>
              <p:cNvPr id="67" name="Gruppieren 66"/>
              <p:cNvGrpSpPr/>
              <p:nvPr/>
            </p:nvGrpSpPr>
            <p:grpSpPr bwMode="gray">
              <a:xfrm flipV="1">
                <a:off x="911223" y="9213625"/>
                <a:ext cx="5072066" cy="57481"/>
                <a:chOff x="911223" y="-158975"/>
                <a:chExt cx="5072066" cy="57481"/>
              </a:xfrm>
            </p:grpSpPr>
            <p:sp>
              <p:nvSpPr>
                <p:cNvPr id="68" name="Gleichschenkliges Dreieck 67"/>
                <p:cNvSpPr/>
                <p:nvPr/>
              </p:nvSpPr>
              <p:spPr bwMode="gray">
                <a:xfrm rot="10800000">
                  <a:off x="911223" y="-158975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69" name="Gleichschenkliges Dreieck 68"/>
                <p:cNvSpPr/>
                <p:nvPr/>
              </p:nvSpPr>
              <p:spPr bwMode="gray">
                <a:xfrm rot="10800000">
                  <a:off x="5916611" y="-158975"/>
                  <a:ext cx="66678" cy="57481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 lang="de-DE" b="1" dirty="0" err="1">
                    <a:solidFill>
                      <a:schemeClr val="bg1"/>
                    </a:solidFill>
                  </a:endParaRPr>
                </a:p>
              </p:txBody>
            </p:sp>
          </p:grpSp>
        </p:grpSp>
      </p:grpSp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 bwMode="gray">
          <a:xfrm>
            <a:off x="937347" y="312330"/>
            <a:ext cx="3287226" cy="184637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300"/>
            </a:lvl1pPr>
          </a:lstStyle>
          <a:p>
            <a:endParaRPr lang="de-DE" sz="1000" dirty="0">
              <a:solidFill>
                <a:schemeClr val="tx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4939151" y="312330"/>
            <a:ext cx="965348" cy="196716"/>
          </a:xfrm>
          <a:prstGeom prst="rect">
            <a:avLst/>
          </a:prstGeom>
        </p:spPr>
        <p:txBody>
          <a:bodyPr vert="horz" lIns="0" tIns="0" rIns="0" bIns="0" rtlCol="0"/>
          <a:lstStyle>
            <a:lvl1pPr algn="r">
              <a:defRPr sz="1300"/>
            </a:lvl1pPr>
          </a:lstStyle>
          <a:p>
            <a:fld id="{A031DBC6-A481-4C45-8DB3-0C598107CDE9}" type="datetimeFigureOut">
              <a:rPr lang="de-DE" sz="1000">
                <a:solidFill>
                  <a:schemeClr val="tx2"/>
                </a:solidFill>
              </a:rPr>
              <a:t>16.03.2021</a:t>
            </a:fld>
            <a:endParaRPr lang="de-DE" sz="1000">
              <a:solidFill>
                <a:schemeClr val="tx2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937347" y="9469981"/>
            <a:ext cx="3430142" cy="196716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300"/>
            </a:lvl1pPr>
          </a:lstStyle>
          <a:p>
            <a:endParaRPr lang="de-DE" sz="1000" dirty="0">
              <a:solidFill>
                <a:schemeClr val="tx2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5224984" y="9469981"/>
            <a:ext cx="679516" cy="1967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300"/>
            </a:lvl1pPr>
          </a:lstStyle>
          <a:p>
            <a:fld id="{050927EF-6445-814E-B74D-F3EF878A1E88}" type="slidenum">
              <a:rPr lang="de-DE" sz="1000">
                <a:solidFill>
                  <a:schemeClr val="tx2"/>
                </a:solidFill>
              </a:rPr>
              <a:t>‹Nr.›</a:t>
            </a:fld>
            <a:endParaRPr lang="de-DE" sz="10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86369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937347" y="312330"/>
            <a:ext cx="3823161" cy="196717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gray">
          <a:xfrm>
            <a:off x="5260713" y="312332"/>
            <a:ext cx="643786" cy="192494"/>
          </a:xfrm>
          <a:prstGeom prst="rect">
            <a:avLst/>
          </a:prstGeom>
        </p:spPr>
        <p:txBody>
          <a:bodyPr vert="horz" lIns="0" tIns="0" rIns="0" bIns="0" rtlCol="0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DF4666C0-FA6C-45BA-BD66-E1C9FC5B12A8}" type="datetimeFigureOut">
              <a:rPr lang="de-DE" smtClean="0"/>
              <a:pPr/>
              <a:t>16.03.2021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933450" y="684213"/>
            <a:ext cx="4972050" cy="2797175"/>
          </a:xfrm>
          <a:prstGeom prst="rect">
            <a:avLst/>
          </a:prstGeom>
          <a:noFill/>
          <a:ln w="6350">
            <a:solidFill>
              <a:schemeClr val="bg2"/>
            </a:solidFill>
          </a:ln>
        </p:spPr>
        <p:txBody>
          <a:bodyPr vert="horz" lIns="95680" tIns="47840" rIns="95680" bIns="4784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937346" y="3961557"/>
            <a:ext cx="4967153" cy="5232331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gray">
          <a:xfrm>
            <a:off x="937348" y="9469980"/>
            <a:ext cx="3680245" cy="196716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gray">
          <a:xfrm>
            <a:off x="5475088" y="9469981"/>
            <a:ext cx="429412" cy="19671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E5799BF5-2177-414B-8A81-41618E50EDB1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260582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1218786" rtl="0" eaLnBrk="1" latinLnBrk="0" hangingPunct="1">
      <a:spcBef>
        <a:spcPts val="267"/>
      </a:spcBef>
      <a:spcAft>
        <a:spcPts val="267"/>
      </a:spcAft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0" indent="0" algn="l" defTabSz="1218786" rtl="0" eaLnBrk="1" latinLnBrk="0" hangingPunct="1">
      <a:spcBef>
        <a:spcPts val="267"/>
      </a:spcBef>
      <a:spcAft>
        <a:spcPts val="267"/>
      </a:spcAft>
      <a:defRPr sz="1000" b="1" kern="1200">
        <a:solidFill>
          <a:schemeClr val="tx1"/>
        </a:solidFill>
        <a:latin typeface="+mn-lt"/>
        <a:ea typeface="+mn-ea"/>
        <a:cs typeface="+mn-cs"/>
      </a:defRPr>
    </a:lvl2pPr>
    <a:lvl3pPr marL="179388" indent="-179388" algn="l" defTabSz="1218786" rtl="0" eaLnBrk="1" latinLnBrk="0" hangingPunct="1">
      <a:spcBef>
        <a:spcPts val="267"/>
      </a:spcBef>
      <a:spcAft>
        <a:spcPts val="267"/>
      </a:spcAft>
      <a:buClr>
        <a:schemeClr val="accent1"/>
      </a:buClr>
      <a:buFont typeface="Wingdings" panose="05000000000000000000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358775" indent="-179388" algn="l" defTabSz="1218786" rtl="0" eaLnBrk="1" latinLnBrk="0" hangingPunct="1">
      <a:spcBef>
        <a:spcPts val="267"/>
      </a:spcBef>
      <a:spcAft>
        <a:spcPts val="267"/>
      </a:spcAft>
      <a:buClr>
        <a:schemeClr val="accent1"/>
      </a:buClr>
      <a:buFont typeface="Symbol" panose="05050102010706020507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79388" indent="-179388" algn="l" defTabSz="1218786" rtl="0" eaLnBrk="1" latinLnBrk="0" hangingPunct="1">
      <a:spcBef>
        <a:spcPts val="267"/>
      </a:spcBef>
      <a:spcAft>
        <a:spcPts val="267"/>
      </a:spcAft>
      <a:buClr>
        <a:schemeClr val="accent1"/>
      </a:buClr>
      <a:buSzPct val="90000"/>
      <a:buFont typeface="+mj-lt"/>
      <a:buAutoNum type="arabicPeriod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449263" indent="-269875" algn="l" defTabSz="1218786" rtl="0" eaLnBrk="1" latinLnBrk="0" hangingPunct="1">
      <a:spcBef>
        <a:spcPts val="267"/>
      </a:spcBef>
      <a:spcAft>
        <a:spcPts val="267"/>
      </a:spcAft>
      <a:buClr>
        <a:schemeClr val="accent1"/>
      </a:buClr>
      <a:buSzPct val="90000"/>
      <a:buFont typeface="+mj-lt"/>
      <a:buAutoNum type="alphaLcParenR"/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0" indent="0" algn="l" defTabSz="1218786" rtl="0" eaLnBrk="1" latinLnBrk="0" hangingPunct="1">
      <a:lnSpc>
        <a:spcPct val="80000"/>
      </a:lnSpc>
      <a:spcBef>
        <a:spcPts val="800"/>
      </a:spcBef>
      <a:spcAft>
        <a:spcPts val="800"/>
      </a:spcAft>
      <a:defRPr sz="1000" b="0" kern="1200">
        <a:solidFill>
          <a:schemeClr val="tx1"/>
        </a:solidFill>
        <a:latin typeface="+mn-lt"/>
        <a:ea typeface="+mn-ea"/>
        <a:cs typeface="+mn-cs"/>
      </a:defRPr>
    </a:lvl7pPr>
    <a:lvl8pPr marL="0" indent="0" algn="l" defTabSz="1218786" rtl="0" eaLnBrk="1" latinLnBrk="0" hangingPunct="1">
      <a:lnSpc>
        <a:spcPct val="80000"/>
      </a:lnSpc>
      <a:spcBef>
        <a:spcPts val="800"/>
      </a:spcBef>
      <a:spcAft>
        <a:spcPts val="800"/>
      </a:spcAft>
      <a:defRPr sz="1000" b="0" kern="1200">
        <a:solidFill>
          <a:schemeClr val="tx1"/>
        </a:solidFill>
        <a:latin typeface="+mn-lt"/>
        <a:ea typeface="+mn-ea"/>
        <a:cs typeface="+mn-cs"/>
      </a:defRPr>
    </a:lvl8pPr>
    <a:lvl9pPr marL="0" indent="0" algn="l" defTabSz="1218786" rtl="0" eaLnBrk="1" latinLnBrk="0" hangingPunct="1">
      <a:spcBef>
        <a:spcPts val="267"/>
      </a:spcBef>
      <a:spcAft>
        <a:spcPts val="267"/>
      </a:spcAft>
      <a:defRPr sz="1000" b="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799BF5-2177-414B-8A81-41618E50EDB1}" type="slidenum">
              <a:rPr lang="de-DE" smtClean="0"/>
              <a:pPr/>
              <a:t>1</a:t>
            </a:fld>
            <a:endParaRPr lang="de-DE" dirty="0"/>
          </a:p>
        </p:txBody>
      </p:sp>
      <p:sp>
        <p:nvSpPr>
          <p:cNvPr id="3" name="Folienbildplatzhalter 2"/>
          <p:cNvSpPr>
            <a:spLocks noGrp="1" noRot="1" noChangeAspect="1"/>
          </p:cNvSpPr>
          <p:nvPr>
            <p:ph type="sldImg"/>
          </p:nvPr>
        </p:nvSpPr>
        <p:spPr>
          <a:xfrm>
            <a:off x="933450" y="684213"/>
            <a:ext cx="4972050" cy="2797175"/>
          </a:xfrm>
        </p:spPr>
      </p:sp>
      <p:sp>
        <p:nvSpPr>
          <p:cNvPr id="5" name="Notizenplatzhalt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633504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799BF5-2177-414B-8A81-41618E50EDB1}" type="slidenum">
              <a:rPr lang="de-DE" smtClean="0"/>
              <a:pPr/>
              <a:t>19</a:t>
            </a:fld>
            <a:endParaRPr lang="de-DE"/>
          </a:p>
        </p:txBody>
      </p:sp>
      <p:sp>
        <p:nvSpPr>
          <p:cNvPr id="3" name="Folienbildplatzhalter 2"/>
          <p:cNvSpPr>
            <a:spLocks noGrp="1" noRot="1" noChangeAspect="1"/>
          </p:cNvSpPr>
          <p:nvPr>
            <p:ph type="sldImg"/>
          </p:nvPr>
        </p:nvSpPr>
        <p:spPr>
          <a:xfrm>
            <a:off x="933450" y="684213"/>
            <a:ext cx="4972050" cy="2797175"/>
          </a:xfrm>
        </p:spPr>
      </p:sp>
      <p:sp>
        <p:nvSpPr>
          <p:cNvPr id="5" name="Notizenplatzhalt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2201379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799BF5-2177-414B-8A81-41618E50EDB1}" type="slidenum">
              <a:rPr lang="de-DE" smtClean="0"/>
              <a:pPr/>
              <a:t>20</a:t>
            </a:fld>
            <a:endParaRPr lang="de-DE"/>
          </a:p>
        </p:txBody>
      </p:sp>
      <p:sp>
        <p:nvSpPr>
          <p:cNvPr id="3" name="Folienbildplatzhalter 2"/>
          <p:cNvSpPr>
            <a:spLocks noGrp="1" noRot="1" noChangeAspect="1"/>
          </p:cNvSpPr>
          <p:nvPr>
            <p:ph type="sldImg"/>
          </p:nvPr>
        </p:nvSpPr>
        <p:spPr>
          <a:xfrm>
            <a:off x="933450" y="684213"/>
            <a:ext cx="4972050" cy="2797175"/>
          </a:xfrm>
        </p:spPr>
      </p:sp>
      <p:sp>
        <p:nvSpPr>
          <p:cNvPr id="5" name="Notizenplatzhalt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561744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799BF5-2177-414B-8A81-41618E50EDB1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3" name="Folienbildplatzhalter 2"/>
          <p:cNvSpPr>
            <a:spLocks noGrp="1" noRot="1" noChangeAspect="1"/>
          </p:cNvSpPr>
          <p:nvPr>
            <p:ph type="sldImg"/>
          </p:nvPr>
        </p:nvSpPr>
        <p:spPr>
          <a:xfrm>
            <a:off x="933450" y="684213"/>
            <a:ext cx="4972050" cy="2797175"/>
          </a:xfrm>
        </p:spPr>
      </p:sp>
      <p:sp>
        <p:nvSpPr>
          <p:cNvPr id="5" name="Notizenplatzhalt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056617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799BF5-2177-414B-8A81-41618E50EDB1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3" name="Folienbildplatzhalter 2"/>
          <p:cNvSpPr>
            <a:spLocks noGrp="1" noRot="1" noChangeAspect="1"/>
          </p:cNvSpPr>
          <p:nvPr>
            <p:ph type="sldImg"/>
          </p:nvPr>
        </p:nvSpPr>
        <p:spPr>
          <a:xfrm>
            <a:off x="933450" y="684213"/>
            <a:ext cx="4972050" cy="2797175"/>
          </a:xfrm>
        </p:spPr>
      </p:sp>
      <p:sp>
        <p:nvSpPr>
          <p:cNvPr id="5" name="Notizenplatzhalt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66838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799BF5-2177-414B-8A81-41618E50EDB1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3" name="Folienbildplatzhalter 2"/>
          <p:cNvSpPr>
            <a:spLocks noGrp="1" noRot="1" noChangeAspect="1"/>
          </p:cNvSpPr>
          <p:nvPr>
            <p:ph type="sldImg"/>
          </p:nvPr>
        </p:nvSpPr>
        <p:spPr>
          <a:xfrm>
            <a:off x="933450" y="684213"/>
            <a:ext cx="4972050" cy="2797175"/>
          </a:xfrm>
        </p:spPr>
      </p:sp>
      <p:sp>
        <p:nvSpPr>
          <p:cNvPr id="5" name="Notizenplatzhalt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24258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799BF5-2177-414B-8A81-41618E50EDB1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3" name="Folienbildplatzhalter 2"/>
          <p:cNvSpPr>
            <a:spLocks noGrp="1" noRot="1" noChangeAspect="1"/>
          </p:cNvSpPr>
          <p:nvPr>
            <p:ph type="sldImg"/>
          </p:nvPr>
        </p:nvSpPr>
        <p:spPr>
          <a:xfrm>
            <a:off x="933450" y="684213"/>
            <a:ext cx="4972050" cy="2797175"/>
          </a:xfrm>
        </p:spPr>
      </p:sp>
      <p:sp>
        <p:nvSpPr>
          <p:cNvPr id="5" name="Notizenplatzhalt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612202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799BF5-2177-414B-8A81-41618E50EDB1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3" name="Folienbildplatzhalter 2"/>
          <p:cNvSpPr>
            <a:spLocks noGrp="1" noRot="1" noChangeAspect="1"/>
          </p:cNvSpPr>
          <p:nvPr>
            <p:ph type="sldImg"/>
          </p:nvPr>
        </p:nvSpPr>
        <p:spPr>
          <a:xfrm>
            <a:off x="933450" y="684213"/>
            <a:ext cx="4972050" cy="2797175"/>
          </a:xfrm>
        </p:spPr>
      </p:sp>
      <p:sp>
        <p:nvSpPr>
          <p:cNvPr id="5" name="Notizenplatzhalt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7129180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799BF5-2177-414B-8A81-41618E50EDB1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3" name="Folienbildplatzhalter 2"/>
          <p:cNvSpPr>
            <a:spLocks noGrp="1" noRot="1" noChangeAspect="1"/>
          </p:cNvSpPr>
          <p:nvPr>
            <p:ph type="sldImg"/>
          </p:nvPr>
        </p:nvSpPr>
        <p:spPr>
          <a:xfrm>
            <a:off x="933450" y="684213"/>
            <a:ext cx="4972050" cy="2797175"/>
          </a:xfrm>
        </p:spPr>
      </p:sp>
      <p:sp>
        <p:nvSpPr>
          <p:cNvPr id="5" name="Notizenplatzhalt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61432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799BF5-2177-414B-8A81-41618E50EDB1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3" name="Folienbildplatzhalter 2"/>
          <p:cNvSpPr>
            <a:spLocks noGrp="1" noRot="1" noChangeAspect="1"/>
          </p:cNvSpPr>
          <p:nvPr>
            <p:ph type="sldImg"/>
          </p:nvPr>
        </p:nvSpPr>
        <p:spPr>
          <a:xfrm>
            <a:off x="933450" y="684213"/>
            <a:ext cx="4972050" cy="2797175"/>
          </a:xfrm>
        </p:spPr>
      </p:sp>
      <p:sp>
        <p:nvSpPr>
          <p:cNvPr id="5" name="Notizenplatzhalt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588963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799BF5-2177-414B-8A81-41618E50EDB1}" type="slidenum">
              <a:rPr lang="de-DE" smtClean="0"/>
              <a:pPr/>
              <a:t>18</a:t>
            </a:fld>
            <a:endParaRPr lang="de-DE"/>
          </a:p>
        </p:txBody>
      </p:sp>
      <p:sp>
        <p:nvSpPr>
          <p:cNvPr id="3" name="Folienbildplatzhalter 2"/>
          <p:cNvSpPr>
            <a:spLocks noGrp="1" noRot="1" noChangeAspect="1"/>
          </p:cNvSpPr>
          <p:nvPr>
            <p:ph type="sldImg"/>
          </p:nvPr>
        </p:nvSpPr>
        <p:spPr>
          <a:xfrm>
            <a:off x="933450" y="684213"/>
            <a:ext cx="4972050" cy="2797175"/>
          </a:xfrm>
        </p:spPr>
      </p:sp>
      <p:sp>
        <p:nvSpPr>
          <p:cNvPr id="5" name="Notizenplatzhalt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29001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ckblat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49079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 bwMode="gray">
          <a:xfrm>
            <a:off x="527058" y="6890599"/>
            <a:ext cx="1009173" cy="260350"/>
          </a:xfrm>
        </p:spPr>
        <p:txBody>
          <a:bodyPr/>
          <a:lstStyle/>
          <a:p>
            <a:fld id="{F7F33227-FED5-457F-81D4-E74627327F01}" type="datetime1">
              <a:rPr lang="de-DE" smtClean="0"/>
              <a:t>16.03.20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 bwMode="gray">
          <a:xfrm>
            <a:off x="1536225" y="6890596"/>
            <a:ext cx="6672211" cy="260349"/>
          </a:xfrm>
        </p:spPr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gray">
          <a:xfrm>
            <a:off x="11181401" y="6890595"/>
            <a:ext cx="480384" cy="260349"/>
          </a:xfrm>
        </p:spPr>
        <p:txBody>
          <a:bodyPr/>
          <a:lstStyle/>
          <a:p>
            <a:fld id="{2066355A-084C-D24E-9AD2-7E4FC41EA627}" type="slidenum">
              <a:rPr lang="en-US" smtClean="0"/>
              <a:pPr/>
              <a:t>‹Nr.›</a:t>
            </a:fld>
            <a:endParaRPr lang="en-US" dirty="0"/>
          </a:p>
        </p:txBody>
      </p:sp>
      <p:grpSp>
        <p:nvGrpSpPr>
          <p:cNvPr id="74" name="Gruppieren 73"/>
          <p:cNvGrpSpPr/>
          <p:nvPr userDrawn="1"/>
        </p:nvGrpSpPr>
        <p:grpSpPr bwMode="gray">
          <a:xfrm>
            <a:off x="4686657" y="2866800"/>
            <a:ext cx="2818700" cy="1124410"/>
            <a:chOff x="-64593788" y="4924426"/>
            <a:chExt cx="63238063" cy="25223786"/>
          </a:xfrm>
        </p:grpSpPr>
        <p:sp>
          <p:nvSpPr>
            <p:cNvPr id="120" name="Freeform 7"/>
            <p:cNvSpPr>
              <a:spLocks/>
            </p:cNvSpPr>
            <p:nvPr userDrawn="1"/>
          </p:nvSpPr>
          <p:spPr bwMode="gray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solidFill>
              <a:srgbClr val="0000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1" name="Rectangle 8"/>
            <p:cNvSpPr>
              <a:spLocks noChangeArrowheads="1"/>
            </p:cNvSpPr>
            <p:nvPr userDrawn="1"/>
          </p:nvSpPr>
          <p:spPr bwMode="gray">
            <a:xfrm>
              <a:off x="-64587438" y="4926013"/>
              <a:ext cx="2549525" cy="15319375"/>
            </a:xfrm>
            <a:prstGeom prst="rect">
              <a:avLst/>
            </a:prstGeom>
            <a:solidFill>
              <a:srgbClr val="0000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2" name="Rectangle 9"/>
            <p:cNvSpPr>
              <a:spLocks noChangeArrowheads="1"/>
            </p:cNvSpPr>
            <p:nvPr userDrawn="1"/>
          </p:nvSpPr>
          <p:spPr bwMode="gray">
            <a:xfrm>
              <a:off x="-51869975" y="4926013"/>
              <a:ext cx="2547938" cy="15319375"/>
            </a:xfrm>
            <a:prstGeom prst="rect">
              <a:avLst/>
            </a:prstGeom>
            <a:solidFill>
              <a:srgbClr val="0000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3" name="Freeform 10"/>
            <p:cNvSpPr>
              <a:spLocks/>
            </p:cNvSpPr>
            <p:nvPr userDrawn="1"/>
          </p:nvSpPr>
          <p:spPr bwMode="gray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solidFill>
              <a:srgbClr val="0000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4" name="Freeform 11"/>
            <p:cNvSpPr>
              <a:spLocks noEditPoints="1"/>
            </p:cNvSpPr>
            <p:nvPr userDrawn="1"/>
          </p:nvSpPr>
          <p:spPr bwMode="gray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5" name="Freeform 12"/>
            <p:cNvSpPr>
              <a:spLocks noEditPoints="1"/>
            </p:cNvSpPr>
            <p:nvPr userDrawn="1"/>
          </p:nvSpPr>
          <p:spPr bwMode="gray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6" name="Freeform 13"/>
            <p:cNvSpPr>
              <a:spLocks noEditPoints="1"/>
            </p:cNvSpPr>
            <p:nvPr userDrawn="1"/>
          </p:nvSpPr>
          <p:spPr bwMode="gray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7" name="Freeform 14"/>
            <p:cNvSpPr>
              <a:spLocks noEditPoints="1"/>
            </p:cNvSpPr>
            <p:nvPr userDrawn="1"/>
          </p:nvSpPr>
          <p:spPr bwMode="gray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8" name="Freeform 15"/>
            <p:cNvSpPr>
              <a:spLocks/>
            </p:cNvSpPr>
            <p:nvPr userDrawn="1"/>
          </p:nvSpPr>
          <p:spPr bwMode="gray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9" name="Freeform 16"/>
            <p:cNvSpPr>
              <a:spLocks/>
            </p:cNvSpPr>
            <p:nvPr userDrawn="1"/>
          </p:nvSpPr>
          <p:spPr bwMode="gray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0" name="Freeform 17"/>
            <p:cNvSpPr>
              <a:spLocks/>
            </p:cNvSpPr>
            <p:nvPr userDrawn="1"/>
          </p:nvSpPr>
          <p:spPr bwMode="gray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1" name="Freeform 18"/>
            <p:cNvSpPr>
              <a:spLocks/>
            </p:cNvSpPr>
            <p:nvPr userDrawn="1"/>
          </p:nvSpPr>
          <p:spPr bwMode="gray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2" name="Freeform 19"/>
            <p:cNvSpPr>
              <a:spLocks/>
            </p:cNvSpPr>
            <p:nvPr userDrawn="1"/>
          </p:nvSpPr>
          <p:spPr bwMode="gray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3" name="Freeform 20"/>
            <p:cNvSpPr>
              <a:spLocks noEditPoints="1"/>
            </p:cNvSpPr>
            <p:nvPr userDrawn="1"/>
          </p:nvSpPr>
          <p:spPr bwMode="gray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4" name="Freeform 21"/>
            <p:cNvSpPr>
              <a:spLocks/>
            </p:cNvSpPr>
            <p:nvPr userDrawn="1"/>
          </p:nvSpPr>
          <p:spPr bwMode="gray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5" name="Freeform 22"/>
            <p:cNvSpPr>
              <a:spLocks noEditPoints="1"/>
            </p:cNvSpPr>
            <p:nvPr userDrawn="1"/>
          </p:nvSpPr>
          <p:spPr bwMode="gray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6" name="Freeform 23"/>
            <p:cNvSpPr>
              <a:spLocks noEditPoints="1"/>
            </p:cNvSpPr>
            <p:nvPr userDrawn="1"/>
          </p:nvSpPr>
          <p:spPr bwMode="gray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7" name="Freeform 24"/>
            <p:cNvSpPr>
              <a:spLocks/>
            </p:cNvSpPr>
            <p:nvPr userDrawn="1"/>
          </p:nvSpPr>
          <p:spPr bwMode="gray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8" name="Freeform 25"/>
            <p:cNvSpPr>
              <a:spLocks/>
            </p:cNvSpPr>
            <p:nvPr userDrawn="1"/>
          </p:nvSpPr>
          <p:spPr bwMode="gray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9" name="Freeform 26"/>
            <p:cNvSpPr>
              <a:spLocks/>
            </p:cNvSpPr>
            <p:nvPr userDrawn="1"/>
          </p:nvSpPr>
          <p:spPr bwMode="gray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40" name="Freeform 27"/>
            <p:cNvSpPr>
              <a:spLocks/>
            </p:cNvSpPr>
            <p:nvPr userDrawn="1"/>
          </p:nvSpPr>
          <p:spPr bwMode="gray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41" name="Freeform 28"/>
            <p:cNvSpPr>
              <a:spLocks noEditPoints="1"/>
            </p:cNvSpPr>
            <p:nvPr userDrawn="1"/>
          </p:nvSpPr>
          <p:spPr bwMode="gray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42" name="Freeform 29"/>
            <p:cNvSpPr>
              <a:spLocks/>
            </p:cNvSpPr>
            <p:nvPr userDrawn="1"/>
          </p:nvSpPr>
          <p:spPr bwMode="gray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grpSp>
        <p:nvGrpSpPr>
          <p:cNvPr id="61" name="Gruppieren 60"/>
          <p:cNvGrpSpPr/>
          <p:nvPr userDrawn="1"/>
        </p:nvGrpSpPr>
        <p:grpSpPr>
          <a:xfrm>
            <a:off x="-180007" y="-180000"/>
            <a:ext cx="12553214" cy="7218000"/>
            <a:chOff x="-180007" y="-180000"/>
            <a:chExt cx="12553214" cy="7218000"/>
          </a:xfrm>
        </p:grpSpPr>
        <p:sp>
          <p:nvSpPr>
            <p:cNvPr id="62" name="Gleichschenkliges Dreieck 61"/>
            <p:cNvSpPr/>
            <p:nvPr userDrawn="1"/>
          </p:nvSpPr>
          <p:spPr bwMode="gray">
            <a:xfrm rot="10800000">
              <a:off x="354000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63" name="Gleichschenkliges Dreieck 62"/>
            <p:cNvSpPr/>
            <p:nvPr userDrawn="1"/>
          </p:nvSpPr>
          <p:spPr bwMode="gray">
            <a:xfrm rot="10800000">
              <a:off x="3954000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64" name="Gleichschenkliges Dreieck 63"/>
            <p:cNvSpPr/>
            <p:nvPr userDrawn="1"/>
          </p:nvSpPr>
          <p:spPr bwMode="gray">
            <a:xfrm rot="10800000">
              <a:off x="4242000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65" name="Gleichschenkliges Dreieck 64"/>
            <p:cNvSpPr/>
            <p:nvPr userDrawn="1"/>
          </p:nvSpPr>
          <p:spPr bwMode="gray">
            <a:xfrm rot="10800000">
              <a:off x="5898000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66" name="Gleichschenkliges Dreieck 65"/>
            <p:cNvSpPr/>
            <p:nvPr userDrawn="1"/>
          </p:nvSpPr>
          <p:spPr bwMode="gray">
            <a:xfrm rot="10800000">
              <a:off x="6186000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67" name="Gleichschenkliges Dreieck 66"/>
            <p:cNvSpPr/>
            <p:nvPr userDrawn="1"/>
          </p:nvSpPr>
          <p:spPr bwMode="gray">
            <a:xfrm rot="10800000">
              <a:off x="7841658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68" name="Gleichschenkliges Dreieck 67"/>
            <p:cNvSpPr/>
            <p:nvPr userDrawn="1"/>
          </p:nvSpPr>
          <p:spPr bwMode="gray">
            <a:xfrm rot="10800000">
              <a:off x="8130000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69" name="Gleichschenkliges Dreieck 68"/>
            <p:cNvSpPr/>
            <p:nvPr userDrawn="1"/>
          </p:nvSpPr>
          <p:spPr bwMode="gray">
            <a:xfrm rot="10800000">
              <a:off x="11729951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70" name="Gleichschenkliges Dreieck 69"/>
            <p:cNvSpPr/>
            <p:nvPr userDrawn="1"/>
          </p:nvSpPr>
          <p:spPr bwMode="gray">
            <a:xfrm rot="10800000" flipV="1">
              <a:off x="354000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71" name="Gleichschenkliges Dreieck 70"/>
            <p:cNvSpPr/>
            <p:nvPr userDrawn="1"/>
          </p:nvSpPr>
          <p:spPr bwMode="gray">
            <a:xfrm rot="10800000" flipV="1">
              <a:off x="3954000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72" name="Gleichschenkliges Dreieck 71"/>
            <p:cNvSpPr/>
            <p:nvPr userDrawn="1"/>
          </p:nvSpPr>
          <p:spPr bwMode="gray">
            <a:xfrm rot="10800000" flipV="1">
              <a:off x="4242000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73" name="Gleichschenkliges Dreieck 72"/>
            <p:cNvSpPr/>
            <p:nvPr userDrawn="1"/>
          </p:nvSpPr>
          <p:spPr bwMode="gray">
            <a:xfrm rot="10800000" flipV="1">
              <a:off x="5898000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75" name="Gleichschenkliges Dreieck 74"/>
            <p:cNvSpPr/>
            <p:nvPr userDrawn="1"/>
          </p:nvSpPr>
          <p:spPr bwMode="gray">
            <a:xfrm rot="10800000" flipV="1">
              <a:off x="6186000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76" name="Gleichschenkliges Dreieck 75"/>
            <p:cNvSpPr/>
            <p:nvPr userDrawn="1"/>
          </p:nvSpPr>
          <p:spPr bwMode="gray">
            <a:xfrm rot="10800000" flipV="1">
              <a:off x="7841658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77" name="Gleichschenkliges Dreieck 76"/>
            <p:cNvSpPr/>
            <p:nvPr userDrawn="1"/>
          </p:nvSpPr>
          <p:spPr bwMode="gray">
            <a:xfrm rot="10800000" flipV="1">
              <a:off x="8130000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78" name="Gleichschenkliges Dreieck 77"/>
            <p:cNvSpPr/>
            <p:nvPr userDrawn="1"/>
          </p:nvSpPr>
          <p:spPr bwMode="gray">
            <a:xfrm rot="10800000" flipV="1">
              <a:off x="11729951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79" name="Gleichschenkliges Dreieck 78"/>
            <p:cNvSpPr/>
            <p:nvPr userDrawn="1"/>
          </p:nvSpPr>
          <p:spPr bwMode="gray">
            <a:xfrm rot="5400000">
              <a:off x="-180000" y="351000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0" name="Gleichschenkliges Dreieck 79"/>
            <p:cNvSpPr/>
            <p:nvPr userDrawn="1"/>
          </p:nvSpPr>
          <p:spPr bwMode="gray">
            <a:xfrm rot="5400000">
              <a:off x="-180000" y="1143000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1" name="Gleichschenkliges Dreieck 80"/>
            <p:cNvSpPr/>
            <p:nvPr userDrawn="1"/>
          </p:nvSpPr>
          <p:spPr bwMode="gray">
            <a:xfrm rot="5400000">
              <a:off x="-180000" y="3734693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2" name="Gleichschenkliges Dreieck 81"/>
            <p:cNvSpPr/>
            <p:nvPr userDrawn="1"/>
          </p:nvSpPr>
          <p:spPr bwMode="gray">
            <a:xfrm rot="5400000">
              <a:off x="-180000" y="4022693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3" name="Gleichschenkliges Dreieck 82"/>
            <p:cNvSpPr/>
            <p:nvPr userDrawn="1"/>
          </p:nvSpPr>
          <p:spPr bwMode="gray">
            <a:xfrm rot="5400000">
              <a:off x="-180000" y="6327742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4" name="Gleichschenkliges Dreieck 83"/>
            <p:cNvSpPr/>
            <p:nvPr userDrawn="1"/>
          </p:nvSpPr>
          <p:spPr bwMode="gray">
            <a:xfrm rot="5400000">
              <a:off x="-180000" y="6543646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5" name="Gleichschenkliges Dreieck 84"/>
            <p:cNvSpPr/>
            <p:nvPr userDrawn="1"/>
          </p:nvSpPr>
          <p:spPr bwMode="gray">
            <a:xfrm rot="5400000">
              <a:off x="-180000" y="1431000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6" name="Gleichschenkliges Dreieck 85"/>
            <p:cNvSpPr/>
            <p:nvPr userDrawn="1"/>
          </p:nvSpPr>
          <p:spPr bwMode="gray">
            <a:xfrm rot="16200000" flipH="1">
              <a:off x="12265200" y="351000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7" name="Gleichschenkliges Dreieck 86"/>
            <p:cNvSpPr/>
            <p:nvPr userDrawn="1"/>
          </p:nvSpPr>
          <p:spPr bwMode="gray">
            <a:xfrm rot="16200000" flipH="1">
              <a:off x="12265200" y="1143000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8" name="Gleichschenkliges Dreieck 87"/>
            <p:cNvSpPr/>
            <p:nvPr userDrawn="1"/>
          </p:nvSpPr>
          <p:spPr bwMode="gray">
            <a:xfrm rot="16200000" flipH="1">
              <a:off x="12265200" y="3734693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9" name="Gleichschenkliges Dreieck 88"/>
            <p:cNvSpPr/>
            <p:nvPr userDrawn="1"/>
          </p:nvSpPr>
          <p:spPr bwMode="gray">
            <a:xfrm rot="16200000" flipH="1">
              <a:off x="12265200" y="4022693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90" name="Gleichschenkliges Dreieck 89"/>
            <p:cNvSpPr/>
            <p:nvPr userDrawn="1"/>
          </p:nvSpPr>
          <p:spPr bwMode="gray">
            <a:xfrm rot="16200000" flipH="1">
              <a:off x="12265200" y="6327743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91" name="Gleichschenkliges Dreieck 90"/>
            <p:cNvSpPr/>
            <p:nvPr userDrawn="1"/>
          </p:nvSpPr>
          <p:spPr bwMode="gray">
            <a:xfrm rot="16200000" flipH="1">
              <a:off x="12265200" y="6543647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92" name="Gleichschenkliges Dreieck 91"/>
            <p:cNvSpPr/>
            <p:nvPr userDrawn="1"/>
          </p:nvSpPr>
          <p:spPr bwMode="gray">
            <a:xfrm rot="16200000" flipH="1">
              <a:off x="12265200" y="1431000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95060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 1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240463" y="1483200"/>
            <a:ext cx="5543495" cy="4898550"/>
          </a:xfrm>
        </p:spPr>
        <p:txBody>
          <a:bodyPr bIns="1199594" anchor="ctr">
            <a:noAutofit/>
          </a:bodyPr>
          <a:lstStyle>
            <a:lvl1pPr algn="ctr">
              <a:defRPr sz="1400" baseline="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Auf Icon klicken, </a:t>
            </a:r>
            <a:br>
              <a:rPr lang="de-DE" dirty="0"/>
            </a:br>
            <a:r>
              <a:rPr lang="de-DE" dirty="0"/>
              <a:t>um ein Bild einzufüg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/>
          </p:nvPr>
        </p:nvSpPr>
        <p:spPr bwMode="gray">
          <a:xfrm>
            <a:off x="406454" y="1484313"/>
            <a:ext cx="5544271" cy="48974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E740B768-3BC9-4C97-A6B2-165F9F8CFA33}" type="datetime1">
              <a:rPr lang="de-DE" smtClean="0"/>
              <a:t>16.03.2021</a:t>
            </a:fld>
            <a:endParaRPr lang="en-US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27" hasCustomPrompt="1"/>
          </p:nvPr>
        </p:nvSpPr>
        <p:spPr>
          <a:xfrm>
            <a:off x="406401" y="0"/>
            <a:ext cx="7776000" cy="404813"/>
          </a:xfrm>
        </p:spPr>
        <p:txBody>
          <a:bodyPr anchor="b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 Kapitelüberschrift hinzufügen</a:t>
            </a:r>
          </a:p>
        </p:txBody>
      </p:sp>
    </p:spTree>
    <p:extLst>
      <p:ext uri="{BB962C8B-B14F-4D97-AF65-F5344CB8AC3E}">
        <p14:creationId xmlns:p14="http://schemas.microsoft.com/office/powerpoint/2010/main" val="372219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 1: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95775" y="1484314"/>
            <a:ext cx="7488238" cy="4897436"/>
          </a:xfrm>
        </p:spPr>
        <p:txBody>
          <a:bodyPr bIns="1199594" anchor="ctr">
            <a:noAutofit/>
          </a:bodyPr>
          <a:lstStyle>
            <a:lvl1pPr algn="ctr">
              <a:defRPr sz="1400" baseline="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Auf Icon klicken, </a:t>
            </a:r>
            <a:br>
              <a:rPr lang="de-DE" dirty="0"/>
            </a:br>
            <a:r>
              <a:rPr lang="de-DE" dirty="0"/>
              <a:t>um ein Bild einzufüg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/>
          </p:nvPr>
        </p:nvSpPr>
        <p:spPr bwMode="gray">
          <a:xfrm>
            <a:off x="406400" y="1484314"/>
            <a:ext cx="3602038" cy="489743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580D19AA-D213-4663-986A-6800CEE1CA58}" type="datetime1">
              <a:rPr lang="de-DE" smtClean="0"/>
              <a:t>16.03.2021</a:t>
            </a:fld>
            <a:endParaRPr lang="en-US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27" hasCustomPrompt="1"/>
          </p:nvPr>
        </p:nvSpPr>
        <p:spPr>
          <a:xfrm>
            <a:off x="406401" y="0"/>
            <a:ext cx="7776000" cy="404813"/>
          </a:xfrm>
        </p:spPr>
        <p:txBody>
          <a:bodyPr anchor="b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 Kapitelüberschrift hinzufügen</a:t>
            </a:r>
          </a:p>
        </p:txBody>
      </p:sp>
    </p:spTree>
    <p:extLst>
      <p:ext uri="{BB962C8B-B14F-4D97-AF65-F5344CB8AC3E}">
        <p14:creationId xmlns:p14="http://schemas.microsoft.com/office/powerpoint/2010/main" val="3809486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06454" y="1484313"/>
            <a:ext cx="11377559" cy="4897437"/>
          </a:xfrm>
        </p:spPr>
        <p:txBody>
          <a:bodyPr bIns="1199594" anchor="ctr">
            <a:noAutofit/>
          </a:bodyPr>
          <a:lstStyle>
            <a:lvl1pPr algn="ctr">
              <a:defRPr sz="1400" baseline="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Auf Icon klicken, </a:t>
            </a:r>
            <a:br>
              <a:rPr lang="de-DE" dirty="0"/>
            </a:br>
            <a:r>
              <a:rPr lang="de-DE" dirty="0"/>
              <a:t>um ein Bild einzufüg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8C686B1-BBF4-448D-A459-6412932910CD}" type="datetime1">
              <a:rPr lang="de-DE" smtClean="0"/>
              <a:t>16.03.2021</a:t>
            </a:fld>
            <a:endParaRPr lang="en-US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27" hasCustomPrompt="1"/>
          </p:nvPr>
        </p:nvSpPr>
        <p:spPr>
          <a:xfrm>
            <a:off x="406400" y="0"/>
            <a:ext cx="7776000" cy="404813"/>
          </a:xfrm>
        </p:spPr>
        <p:txBody>
          <a:bodyPr anchor="b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 Kapitelüberschrift hinzufügen</a:t>
            </a:r>
          </a:p>
        </p:txBody>
      </p:sp>
    </p:spTree>
    <p:extLst>
      <p:ext uri="{BB962C8B-B14F-4D97-AF65-F5344CB8AC3E}">
        <p14:creationId xmlns:p14="http://schemas.microsoft.com/office/powerpoint/2010/main" val="3598779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1484313"/>
            <a:ext cx="12192000" cy="5373691"/>
          </a:xfrm>
        </p:spPr>
        <p:txBody>
          <a:bodyPr bIns="1199594" anchor="ctr">
            <a:noAutofit/>
          </a:bodyPr>
          <a:lstStyle>
            <a:lvl1pPr algn="ctr">
              <a:defRPr sz="1400" baseline="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Auf Icon klicken, </a:t>
            </a:r>
            <a:br>
              <a:rPr lang="de-DE" dirty="0"/>
            </a:br>
            <a:r>
              <a:rPr lang="de-DE" dirty="0"/>
              <a:t>um ein Bild einzufügen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27" hasCustomPrompt="1"/>
          </p:nvPr>
        </p:nvSpPr>
        <p:spPr>
          <a:xfrm>
            <a:off x="406400" y="0"/>
            <a:ext cx="7776000" cy="404813"/>
          </a:xfrm>
        </p:spPr>
        <p:txBody>
          <a:bodyPr anchor="b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 Kapitelüberschrift hinzufüg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8C686B1-BBF4-448D-A459-6412932910CD}" type="datetime1">
              <a:rPr lang="de-DE" smtClean="0"/>
              <a:t>16.03.2021</a:t>
            </a:fld>
            <a:endParaRPr lang="en-US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8627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0"/>
          <p:cNvSpPr>
            <a:spLocks noChangeArrowheads="1"/>
          </p:cNvSpPr>
          <p:nvPr userDrawn="1"/>
        </p:nvSpPr>
        <p:spPr bwMode="gray">
          <a:xfrm>
            <a:off x="406453" y="4545128"/>
            <a:ext cx="11377506" cy="15842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CC9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pPr eaLnBrk="0" hangingPunct="0">
              <a:lnSpc>
                <a:spcPct val="100000"/>
              </a:lnSpc>
              <a:spcBef>
                <a:spcPct val="0"/>
              </a:spcBef>
              <a:buClr>
                <a:srgbClr val="000099"/>
              </a:buClr>
              <a:tabLst>
                <a:tab pos="3690213" algn="l"/>
                <a:tab pos="4705869" algn="l"/>
              </a:tabLst>
            </a:pPr>
            <a:r>
              <a:rPr lang="de-DE" sz="1300" b="1" noProof="0" dirty="0">
                <a:solidFill>
                  <a:schemeClr val="tx2"/>
                </a:solidFill>
                <a:latin typeface="+mn-lt"/>
                <a:cs typeface="Segoe UI"/>
              </a:rPr>
              <a:t>MHP Management- und IT-Beratung GmbH</a:t>
            </a:r>
            <a:br>
              <a:rPr lang="en-US" sz="1300" b="1" noProof="0" dirty="0">
                <a:solidFill>
                  <a:schemeClr val="tx2"/>
                </a:solidFill>
                <a:latin typeface="+mn-lt"/>
                <a:cs typeface="Segoe UI"/>
              </a:rPr>
            </a:br>
            <a:br>
              <a:rPr lang="de-DE" sz="1300" noProof="0" dirty="0">
                <a:solidFill>
                  <a:schemeClr val="tx2"/>
                </a:solidFill>
                <a:latin typeface="+mn-lt"/>
                <a:cs typeface="Segoe UI"/>
              </a:rPr>
            </a:br>
            <a:r>
              <a:rPr lang="de-DE" sz="1300" noProof="0" dirty="0">
                <a:solidFill>
                  <a:schemeClr val="tx2"/>
                </a:solidFill>
                <a:latin typeface="+mn-lt"/>
                <a:cs typeface="Segoe UI"/>
              </a:rPr>
              <a:t>Film- und Medienzentrum  l  Königsallee 49  l  D-71638 Ludwigsburg</a:t>
            </a:r>
          </a:p>
          <a:p>
            <a:pPr eaLnBrk="0" hangingPunct="0">
              <a:lnSpc>
                <a:spcPct val="100000"/>
              </a:lnSpc>
              <a:spcBef>
                <a:spcPct val="0"/>
              </a:spcBef>
              <a:buClr>
                <a:srgbClr val="000099"/>
              </a:buClr>
              <a:tabLst>
                <a:tab pos="3690213" algn="l"/>
                <a:tab pos="4705869" algn="l"/>
              </a:tabLst>
            </a:pPr>
            <a:r>
              <a:rPr lang="de-DE" sz="1300" noProof="0" dirty="0">
                <a:solidFill>
                  <a:schemeClr val="tx2"/>
                </a:solidFill>
                <a:latin typeface="+mn-lt"/>
                <a:cs typeface="Segoe UI"/>
                <a:sym typeface="Wingdings 2" charset="0"/>
              </a:rPr>
              <a:t>Telefon +49 (0)7141 7856-0  l  Fax +49 (0)7141 7856-199</a:t>
            </a:r>
          </a:p>
          <a:p>
            <a:pPr eaLnBrk="0" hangingPunct="0">
              <a:lnSpc>
                <a:spcPct val="100000"/>
              </a:lnSpc>
              <a:spcBef>
                <a:spcPct val="0"/>
              </a:spcBef>
              <a:buClr>
                <a:srgbClr val="000099"/>
              </a:buClr>
              <a:tabLst>
                <a:tab pos="3690213" algn="l"/>
                <a:tab pos="4705869" algn="l"/>
              </a:tabLst>
            </a:pPr>
            <a:r>
              <a:rPr lang="de-DE" sz="1300" noProof="0" dirty="0" err="1">
                <a:solidFill>
                  <a:schemeClr val="tx2"/>
                </a:solidFill>
                <a:latin typeface="+mn-lt"/>
                <a:cs typeface="Segoe UI"/>
                <a:sym typeface="Wingdings 2" charset="0"/>
              </a:rPr>
              <a:t>eMail</a:t>
            </a:r>
            <a:r>
              <a:rPr lang="de-DE" sz="1300" noProof="0" dirty="0">
                <a:solidFill>
                  <a:schemeClr val="tx2"/>
                </a:solidFill>
                <a:latin typeface="+mn-lt"/>
                <a:cs typeface="Segoe UI"/>
                <a:sym typeface="Wingdings 2" charset="0"/>
              </a:rPr>
              <a:t> info@mhp.com  l  Internet www.mhp.com</a:t>
            </a:r>
          </a:p>
        </p:txBody>
      </p:sp>
      <p:sp>
        <p:nvSpPr>
          <p:cNvPr id="11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06455" y="3325518"/>
            <a:ext cx="7776586" cy="643231"/>
          </a:xfrm>
        </p:spPr>
        <p:txBody>
          <a:bodyPr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500" b="0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600" b="0">
                <a:solidFill>
                  <a:schemeClr val="tx1">
                    <a:tint val="75000"/>
                  </a:schemeClr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600" b="0">
                <a:solidFill>
                  <a:schemeClr val="tx1">
                    <a:tint val="75000"/>
                  </a:schemeClr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600" b="0">
                <a:solidFill>
                  <a:schemeClr val="tx1">
                    <a:tint val="75000"/>
                  </a:schemeClr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600" b="0">
                <a:solidFill>
                  <a:schemeClr val="tx1">
                    <a:tint val="75000"/>
                  </a:schemeClr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600" b="0">
                <a:solidFill>
                  <a:schemeClr val="tx1">
                    <a:tint val="75000"/>
                  </a:schemeClr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600" b="0">
                <a:solidFill>
                  <a:schemeClr val="tx1">
                    <a:tint val="75000"/>
                  </a:schemeClr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600" b="0">
                <a:solidFill>
                  <a:schemeClr val="tx1">
                    <a:tint val="75000"/>
                  </a:schemeClr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600" b="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Vorname Nachname</a:t>
            </a:r>
          </a:p>
          <a:p>
            <a:r>
              <a:rPr lang="de-DE" dirty="0"/>
              <a:t>Vorname.Nachname@mhp.com</a:t>
            </a:r>
          </a:p>
        </p:txBody>
      </p:sp>
      <p:sp>
        <p:nvSpPr>
          <p:cNvPr id="13" name="Titel 1"/>
          <p:cNvSpPr txBox="1">
            <a:spLocks/>
          </p:cNvSpPr>
          <p:nvPr userDrawn="1"/>
        </p:nvSpPr>
        <p:spPr bwMode="gray">
          <a:xfrm>
            <a:off x="406454" y="1988841"/>
            <a:ext cx="7776586" cy="103251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4572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kern="1200">
                <a:solidFill>
                  <a:schemeClr val="bg1"/>
                </a:solidFill>
                <a:latin typeface="Segoe UI"/>
                <a:ea typeface="+mj-ea"/>
                <a:cs typeface="+mj-cs"/>
              </a:defRPr>
            </a:lvl1pPr>
          </a:lstStyle>
          <a:p>
            <a:r>
              <a:rPr lang="de-DE" sz="3600" dirty="0">
                <a:solidFill>
                  <a:schemeClr val="accent1"/>
                </a:solidFill>
              </a:rPr>
              <a:t>Herzlichen Dank</a:t>
            </a:r>
            <a:br>
              <a:rPr lang="de-DE" sz="3600" dirty="0">
                <a:solidFill>
                  <a:schemeClr val="accent1"/>
                </a:solidFill>
              </a:rPr>
            </a:br>
            <a:r>
              <a:rPr lang="de-DE" sz="3600" dirty="0">
                <a:solidFill>
                  <a:schemeClr val="accent1"/>
                </a:solidFill>
              </a:rPr>
              <a:t>für Ihre Aufmerksamkeit!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10017438" y="6858004"/>
            <a:ext cx="1391970" cy="260350"/>
          </a:xfrm>
        </p:spPr>
        <p:txBody>
          <a:bodyPr/>
          <a:lstStyle/>
          <a:p>
            <a:fld id="{681A5632-900B-4722-96B8-2E655D6B8254}" type="datetime1">
              <a:rPr lang="de-DE" smtClean="0"/>
              <a:t>16.03.2021</a:t>
            </a:fld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 bwMode="gray">
          <a:xfrm>
            <a:off x="406454" y="6858003"/>
            <a:ext cx="7489213" cy="260349"/>
          </a:xfrm>
        </p:spPr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11409406" y="6858002"/>
            <a:ext cx="371554" cy="260349"/>
          </a:xfrm>
        </p:spPr>
        <p:txBody>
          <a:bodyPr/>
          <a:lstStyle/>
          <a:p>
            <a:fld id="{2066355A-084C-D24E-9AD2-7E4FC41EA627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1439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mit 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472CBCFA-1FED-4FF1-BDA6-00954ADDC5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6105" b="7791"/>
          <a:stretch/>
        </p:blipFill>
        <p:spPr>
          <a:xfrm>
            <a:off x="-2320" y="1484312"/>
            <a:ext cx="12192000" cy="5380043"/>
          </a:xfrm>
          <a:prstGeom prst="rect">
            <a:avLst/>
          </a:prstGeom>
        </p:spPr>
      </p:pic>
      <p:sp>
        <p:nvSpPr>
          <p:cNvPr id="13" name="Rectangle 10"/>
          <p:cNvSpPr>
            <a:spLocks noChangeArrowheads="1"/>
          </p:cNvSpPr>
          <p:nvPr userDrawn="1"/>
        </p:nvSpPr>
        <p:spPr bwMode="gray">
          <a:xfrm>
            <a:off x="406452" y="4545128"/>
            <a:ext cx="11377506" cy="15842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CC9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pPr eaLnBrk="0" hangingPunct="0">
              <a:lnSpc>
                <a:spcPct val="100000"/>
              </a:lnSpc>
              <a:spcBef>
                <a:spcPct val="0"/>
              </a:spcBef>
              <a:buClr>
                <a:srgbClr val="000099"/>
              </a:buClr>
              <a:tabLst>
                <a:tab pos="3690213" algn="l"/>
                <a:tab pos="4705869" algn="l"/>
              </a:tabLst>
            </a:pPr>
            <a:endParaRPr lang="en-US" sz="1300" noProof="0" dirty="0">
              <a:solidFill>
                <a:schemeClr val="bg1"/>
              </a:solidFill>
              <a:latin typeface="+mn-lt"/>
              <a:cs typeface="Segoe UI"/>
            </a:endParaRPr>
          </a:p>
          <a:p>
            <a:pPr eaLnBrk="0" hangingPunct="0">
              <a:lnSpc>
                <a:spcPct val="100000"/>
              </a:lnSpc>
              <a:spcBef>
                <a:spcPct val="0"/>
              </a:spcBef>
              <a:buClr>
                <a:srgbClr val="000099"/>
              </a:buClr>
              <a:tabLst>
                <a:tab pos="3690213" algn="l"/>
                <a:tab pos="4705869" algn="l"/>
              </a:tabLst>
            </a:pPr>
            <a:r>
              <a:rPr lang="de-DE" sz="1300" b="1" noProof="0" dirty="0">
                <a:solidFill>
                  <a:schemeClr val="bg1"/>
                </a:solidFill>
                <a:latin typeface="+mn-lt"/>
                <a:cs typeface="Segoe UI"/>
              </a:rPr>
              <a:t>MHP Management- und IT-Beratung GmbH</a:t>
            </a:r>
            <a:br>
              <a:rPr lang="en-US" sz="1300" b="1" noProof="0" dirty="0">
                <a:solidFill>
                  <a:schemeClr val="bg1"/>
                </a:solidFill>
                <a:latin typeface="+mn-lt"/>
                <a:cs typeface="Segoe UI"/>
              </a:rPr>
            </a:br>
            <a:br>
              <a:rPr lang="de-DE" sz="1300" noProof="0" dirty="0">
                <a:solidFill>
                  <a:schemeClr val="bg1"/>
                </a:solidFill>
                <a:latin typeface="+mn-lt"/>
                <a:cs typeface="Segoe UI"/>
              </a:rPr>
            </a:br>
            <a:r>
              <a:rPr lang="de-DE" sz="1300" noProof="0" dirty="0">
                <a:solidFill>
                  <a:schemeClr val="bg1"/>
                </a:solidFill>
                <a:latin typeface="+mn-lt"/>
                <a:cs typeface="Segoe UI"/>
              </a:rPr>
              <a:t>Film- und Medienzentrum  l  Königsallee 49  l  D-71638 Ludwigsburg</a:t>
            </a:r>
          </a:p>
          <a:p>
            <a:pPr eaLnBrk="0" hangingPunct="0">
              <a:lnSpc>
                <a:spcPct val="100000"/>
              </a:lnSpc>
              <a:spcBef>
                <a:spcPct val="0"/>
              </a:spcBef>
              <a:buClr>
                <a:srgbClr val="000099"/>
              </a:buClr>
              <a:tabLst>
                <a:tab pos="3690213" algn="l"/>
                <a:tab pos="4705869" algn="l"/>
              </a:tabLst>
            </a:pPr>
            <a:r>
              <a:rPr lang="de-DE" sz="1300" noProof="0" dirty="0">
                <a:solidFill>
                  <a:schemeClr val="bg1"/>
                </a:solidFill>
                <a:latin typeface="+mn-lt"/>
                <a:cs typeface="Segoe UI"/>
                <a:sym typeface="Wingdings 2" charset="0"/>
              </a:rPr>
              <a:t>Telefon +49 (0)7141 7856-0  l  Fax +49 (0)7141 7856-199</a:t>
            </a:r>
          </a:p>
          <a:p>
            <a:pPr eaLnBrk="0" hangingPunct="0">
              <a:lnSpc>
                <a:spcPct val="100000"/>
              </a:lnSpc>
              <a:spcBef>
                <a:spcPct val="0"/>
              </a:spcBef>
              <a:buClr>
                <a:srgbClr val="000099"/>
              </a:buClr>
              <a:tabLst>
                <a:tab pos="3690213" algn="l"/>
                <a:tab pos="4705869" algn="l"/>
              </a:tabLst>
            </a:pPr>
            <a:r>
              <a:rPr lang="de-DE" sz="1300" noProof="0" dirty="0" err="1">
                <a:solidFill>
                  <a:schemeClr val="bg1"/>
                </a:solidFill>
                <a:latin typeface="+mn-lt"/>
                <a:cs typeface="Segoe UI"/>
                <a:sym typeface="Wingdings 2" charset="0"/>
              </a:rPr>
              <a:t>eMail</a:t>
            </a:r>
            <a:r>
              <a:rPr lang="de-DE" sz="1300" noProof="0" dirty="0">
                <a:solidFill>
                  <a:schemeClr val="bg1"/>
                </a:solidFill>
                <a:latin typeface="+mn-lt"/>
                <a:cs typeface="Segoe UI"/>
                <a:sym typeface="Wingdings 2" charset="0"/>
              </a:rPr>
              <a:t> info@mhp.com  l  Internet www.mhp.com</a:t>
            </a:r>
          </a:p>
        </p:txBody>
      </p:sp>
      <p:sp>
        <p:nvSpPr>
          <p:cNvPr id="14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06454" y="3325518"/>
            <a:ext cx="7776587" cy="623551"/>
          </a:xfrm>
        </p:spPr>
        <p:txBody>
          <a:bodyPr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5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600" b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600" b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600" b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600" b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600" b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600" b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600" b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1600" b="0">
                <a:solidFill>
                  <a:schemeClr val="bg1"/>
                </a:solidFill>
              </a:defRPr>
            </a:lvl9pPr>
          </a:lstStyle>
          <a:p>
            <a:r>
              <a:rPr lang="de-DE" dirty="0"/>
              <a:t>Vorname Nachname</a:t>
            </a:r>
          </a:p>
          <a:p>
            <a:r>
              <a:rPr lang="de-DE" dirty="0"/>
              <a:t>Vorname.Nachname@mhp.com</a:t>
            </a:r>
          </a:p>
        </p:txBody>
      </p:sp>
      <p:sp>
        <p:nvSpPr>
          <p:cNvPr id="18" name="Titel 1"/>
          <p:cNvSpPr txBox="1">
            <a:spLocks/>
          </p:cNvSpPr>
          <p:nvPr userDrawn="1"/>
        </p:nvSpPr>
        <p:spPr bwMode="gray">
          <a:xfrm>
            <a:off x="406455" y="1988841"/>
            <a:ext cx="7776586" cy="103251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4572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kern="1200">
                <a:solidFill>
                  <a:schemeClr val="bg1"/>
                </a:solidFill>
                <a:latin typeface="Segoe UI"/>
                <a:ea typeface="+mj-ea"/>
                <a:cs typeface="+mj-cs"/>
              </a:defRPr>
            </a:lvl1pPr>
          </a:lstStyle>
          <a:p>
            <a:r>
              <a:rPr lang="de-DE" sz="3600" dirty="0">
                <a:solidFill>
                  <a:schemeClr val="bg1"/>
                </a:solidFill>
              </a:rPr>
              <a:t>Herzlichen Dank</a:t>
            </a:r>
            <a:br>
              <a:rPr lang="de-DE" sz="3600" dirty="0">
                <a:solidFill>
                  <a:schemeClr val="bg1"/>
                </a:solidFill>
              </a:rPr>
            </a:br>
            <a:r>
              <a:rPr lang="de-DE" sz="3600" dirty="0">
                <a:solidFill>
                  <a:schemeClr val="bg1"/>
                </a:solidFill>
              </a:rPr>
              <a:t>für Ihre Aufmerksamkeit!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10017438" y="6854831"/>
            <a:ext cx="1391970" cy="260350"/>
          </a:xfrm>
        </p:spPr>
        <p:txBody>
          <a:bodyPr/>
          <a:lstStyle/>
          <a:p>
            <a:fld id="{CCB24A32-4369-497F-8A79-128AF69675CB}" type="datetime1">
              <a:rPr lang="de-DE" smtClean="0"/>
              <a:t>16.03.2021</a:t>
            </a:fld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 bwMode="gray">
          <a:xfrm>
            <a:off x="406454" y="6854830"/>
            <a:ext cx="7489213" cy="260349"/>
          </a:xfrm>
        </p:spPr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11409406" y="6854829"/>
            <a:ext cx="371554" cy="260349"/>
          </a:xfrm>
        </p:spPr>
        <p:txBody>
          <a:bodyPr/>
          <a:lstStyle/>
          <a:p>
            <a:fld id="{2066355A-084C-D24E-9AD2-7E4FC41EA627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9344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fld id="{881A3782-5D6E-47EF-94E3-C7FB9A29F086}" type="datetime1">
              <a:rPr lang="de-DE" smtClean="0"/>
              <a:t>16.03.2021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/>
          <a:p>
            <a:fld id="{2066355A-084C-D24E-9AD2-7E4FC41EA627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27" hasCustomPrompt="1"/>
          </p:nvPr>
        </p:nvSpPr>
        <p:spPr>
          <a:xfrm>
            <a:off x="406400" y="0"/>
            <a:ext cx="7776000" cy="404813"/>
          </a:xfrm>
        </p:spPr>
        <p:txBody>
          <a:bodyPr anchor="b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 Kapitelüberschrift hinzufügen</a:t>
            </a:r>
          </a:p>
        </p:txBody>
      </p:sp>
    </p:spTree>
    <p:extLst>
      <p:ext uri="{BB962C8B-B14F-4D97-AF65-F5344CB8AC3E}">
        <p14:creationId xmlns:p14="http://schemas.microsoft.com/office/powerpoint/2010/main" val="2953886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 bwMode="gray">
          <a:xfrm>
            <a:off x="527058" y="6890599"/>
            <a:ext cx="1009173" cy="260350"/>
          </a:xfrm>
        </p:spPr>
        <p:txBody>
          <a:bodyPr/>
          <a:lstStyle/>
          <a:p>
            <a:fld id="{3CAC8B5F-4DA7-47D2-B58A-1D9542AC3787}" type="datetime1">
              <a:rPr lang="de-DE" smtClean="0"/>
              <a:t>16.03.20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 bwMode="gray">
          <a:xfrm>
            <a:off x="1536225" y="6890596"/>
            <a:ext cx="6672211" cy="260349"/>
          </a:xfrm>
        </p:spPr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gray">
          <a:xfrm>
            <a:off x="11181401" y="6890595"/>
            <a:ext cx="480384" cy="260349"/>
          </a:xfrm>
        </p:spPr>
        <p:txBody>
          <a:bodyPr/>
          <a:lstStyle/>
          <a:p>
            <a:fld id="{2066355A-084C-D24E-9AD2-7E4FC41EA627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Rectangle 4"/>
          <p:cNvSpPr/>
          <p:nvPr userDrawn="1"/>
        </p:nvSpPr>
        <p:spPr bwMode="white">
          <a:xfrm>
            <a:off x="11355279" y="6610351"/>
            <a:ext cx="100026" cy="1381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endParaRPr lang="en-US" sz="1400" b="1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4892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inweiß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 bwMode="gray">
          <a:xfrm>
            <a:off x="527058" y="6890599"/>
            <a:ext cx="1009173" cy="260350"/>
          </a:xfrm>
        </p:spPr>
        <p:txBody>
          <a:bodyPr/>
          <a:lstStyle/>
          <a:p>
            <a:fld id="{3CAC8B5F-4DA7-47D2-B58A-1D9542AC3787}" type="datetime1">
              <a:rPr lang="de-DE" smtClean="0"/>
              <a:t>16.03.20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 bwMode="gray">
          <a:xfrm>
            <a:off x="1536225" y="6890596"/>
            <a:ext cx="6672211" cy="260349"/>
          </a:xfrm>
        </p:spPr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gray">
          <a:xfrm>
            <a:off x="11181401" y="6890595"/>
            <a:ext cx="480384" cy="260349"/>
          </a:xfrm>
        </p:spPr>
        <p:txBody>
          <a:bodyPr/>
          <a:lstStyle/>
          <a:p>
            <a:fld id="{2066355A-084C-D24E-9AD2-7E4FC41EA627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Rectangle 4"/>
          <p:cNvSpPr/>
          <p:nvPr userDrawn="1"/>
        </p:nvSpPr>
        <p:spPr bwMode="white">
          <a:xfrm>
            <a:off x="11355279" y="6610351"/>
            <a:ext cx="100026" cy="1381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endParaRPr lang="en-US" sz="1400" b="1" dirty="0" err="1">
              <a:solidFill>
                <a:schemeClr val="bg1"/>
              </a:solidFill>
            </a:endParaRPr>
          </a:p>
        </p:txBody>
      </p:sp>
      <p:grpSp>
        <p:nvGrpSpPr>
          <p:cNvPr id="6" name="Gruppieren 5"/>
          <p:cNvGrpSpPr/>
          <p:nvPr userDrawn="1"/>
        </p:nvGrpSpPr>
        <p:grpSpPr>
          <a:xfrm>
            <a:off x="-180007" y="-180000"/>
            <a:ext cx="12553214" cy="7218000"/>
            <a:chOff x="-180007" y="-180000"/>
            <a:chExt cx="12553214" cy="7218000"/>
          </a:xfrm>
        </p:grpSpPr>
        <p:sp>
          <p:nvSpPr>
            <p:cNvPr id="7" name="Gleichschenkliges Dreieck 6"/>
            <p:cNvSpPr/>
            <p:nvPr userDrawn="1"/>
          </p:nvSpPr>
          <p:spPr bwMode="gray">
            <a:xfrm rot="10800000">
              <a:off x="354000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" name="Gleichschenkliges Dreieck 7"/>
            <p:cNvSpPr/>
            <p:nvPr userDrawn="1"/>
          </p:nvSpPr>
          <p:spPr bwMode="gray">
            <a:xfrm rot="10800000">
              <a:off x="3954000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9" name="Gleichschenkliges Dreieck 8"/>
            <p:cNvSpPr/>
            <p:nvPr userDrawn="1"/>
          </p:nvSpPr>
          <p:spPr bwMode="gray">
            <a:xfrm rot="10800000">
              <a:off x="4242000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10" name="Gleichschenkliges Dreieck 9"/>
            <p:cNvSpPr/>
            <p:nvPr userDrawn="1"/>
          </p:nvSpPr>
          <p:spPr bwMode="gray">
            <a:xfrm rot="10800000">
              <a:off x="5898000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11" name="Gleichschenkliges Dreieck 10"/>
            <p:cNvSpPr/>
            <p:nvPr userDrawn="1"/>
          </p:nvSpPr>
          <p:spPr bwMode="gray">
            <a:xfrm rot="10800000">
              <a:off x="6186000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12" name="Gleichschenkliges Dreieck 11"/>
            <p:cNvSpPr/>
            <p:nvPr userDrawn="1"/>
          </p:nvSpPr>
          <p:spPr bwMode="gray">
            <a:xfrm rot="10800000">
              <a:off x="7841658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13" name="Gleichschenkliges Dreieck 12"/>
            <p:cNvSpPr/>
            <p:nvPr userDrawn="1"/>
          </p:nvSpPr>
          <p:spPr bwMode="gray">
            <a:xfrm rot="10800000">
              <a:off x="8130000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14" name="Gleichschenkliges Dreieck 13"/>
            <p:cNvSpPr/>
            <p:nvPr userDrawn="1"/>
          </p:nvSpPr>
          <p:spPr bwMode="gray">
            <a:xfrm rot="10800000">
              <a:off x="11729951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15" name="Gleichschenkliges Dreieck 14"/>
            <p:cNvSpPr/>
            <p:nvPr userDrawn="1"/>
          </p:nvSpPr>
          <p:spPr bwMode="gray">
            <a:xfrm rot="10800000" flipV="1">
              <a:off x="354000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16" name="Gleichschenkliges Dreieck 15"/>
            <p:cNvSpPr/>
            <p:nvPr userDrawn="1"/>
          </p:nvSpPr>
          <p:spPr bwMode="gray">
            <a:xfrm rot="10800000" flipV="1">
              <a:off x="3954000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17" name="Gleichschenkliges Dreieck 16"/>
            <p:cNvSpPr/>
            <p:nvPr userDrawn="1"/>
          </p:nvSpPr>
          <p:spPr bwMode="gray">
            <a:xfrm rot="10800000" flipV="1">
              <a:off x="4242000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18" name="Gleichschenkliges Dreieck 17"/>
            <p:cNvSpPr/>
            <p:nvPr userDrawn="1"/>
          </p:nvSpPr>
          <p:spPr bwMode="gray">
            <a:xfrm rot="10800000" flipV="1">
              <a:off x="5898000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19" name="Gleichschenkliges Dreieck 18"/>
            <p:cNvSpPr/>
            <p:nvPr userDrawn="1"/>
          </p:nvSpPr>
          <p:spPr bwMode="gray">
            <a:xfrm rot="10800000" flipV="1">
              <a:off x="6186000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20" name="Gleichschenkliges Dreieck 19"/>
            <p:cNvSpPr/>
            <p:nvPr userDrawn="1"/>
          </p:nvSpPr>
          <p:spPr bwMode="gray">
            <a:xfrm rot="10800000" flipV="1">
              <a:off x="7841658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21" name="Gleichschenkliges Dreieck 20"/>
            <p:cNvSpPr/>
            <p:nvPr userDrawn="1"/>
          </p:nvSpPr>
          <p:spPr bwMode="gray">
            <a:xfrm rot="10800000" flipV="1">
              <a:off x="8130000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22" name="Gleichschenkliges Dreieck 21"/>
            <p:cNvSpPr/>
            <p:nvPr userDrawn="1"/>
          </p:nvSpPr>
          <p:spPr bwMode="gray">
            <a:xfrm rot="10800000" flipV="1">
              <a:off x="11729951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23" name="Gleichschenkliges Dreieck 22"/>
            <p:cNvSpPr/>
            <p:nvPr userDrawn="1"/>
          </p:nvSpPr>
          <p:spPr bwMode="gray">
            <a:xfrm rot="5400000">
              <a:off x="-180000" y="351000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24" name="Gleichschenkliges Dreieck 23"/>
            <p:cNvSpPr/>
            <p:nvPr userDrawn="1"/>
          </p:nvSpPr>
          <p:spPr bwMode="gray">
            <a:xfrm rot="5400000">
              <a:off x="-180000" y="1143000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25" name="Gleichschenkliges Dreieck 24"/>
            <p:cNvSpPr/>
            <p:nvPr userDrawn="1"/>
          </p:nvSpPr>
          <p:spPr bwMode="gray">
            <a:xfrm rot="5400000">
              <a:off x="-180000" y="3734693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26" name="Gleichschenkliges Dreieck 25"/>
            <p:cNvSpPr/>
            <p:nvPr userDrawn="1"/>
          </p:nvSpPr>
          <p:spPr bwMode="gray">
            <a:xfrm rot="5400000">
              <a:off x="-180000" y="4022693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27" name="Gleichschenkliges Dreieck 26"/>
            <p:cNvSpPr/>
            <p:nvPr userDrawn="1"/>
          </p:nvSpPr>
          <p:spPr bwMode="gray">
            <a:xfrm rot="5400000">
              <a:off x="-180000" y="6327742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28" name="Gleichschenkliges Dreieck 27"/>
            <p:cNvSpPr/>
            <p:nvPr userDrawn="1"/>
          </p:nvSpPr>
          <p:spPr bwMode="gray">
            <a:xfrm rot="5400000">
              <a:off x="-180000" y="6543646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29" name="Gleichschenkliges Dreieck 28"/>
            <p:cNvSpPr/>
            <p:nvPr userDrawn="1"/>
          </p:nvSpPr>
          <p:spPr bwMode="gray">
            <a:xfrm rot="5400000">
              <a:off x="-180000" y="1431000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30" name="Gleichschenkliges Dreieck 29"/>
            <p:cNvSpPr/>
            <p:nvPr userDrawn="1"/>
          </p:nvSpPr>
          <p:spPr bwMode="gray">
            <a:xfrm rot="16200000" flipH="1">
              <a:off x="12265200" y="351000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31" name="Gleichschenkliges Dreieck 30"/>
            <p:cNvSpPr/>
            <p:nvPr userDrawn="1"/>
          </p:nvSpPr>
          <p:spPr bwMode="gray">
            <a:xfrm rot="16200000" flipH="1">
              <a:off x="12265200" y="1143000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32" name="Gleichschenkliges Dreieck 31"/>
            <p:cNvSpPr/>
            <p:nvPr userDrawn="1"/>
          </p:nvSpPr>
          <p:spPr bwMode="gray">
            <a:xfrm rot="16200000" flipH="1">
              <a:off x="12265200" y="3734693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33" name="Gleichschenkliges Dreieck 32"/>
            <p:cNvSpPr/>
            <p:nvPr userDrawn="1"/>
          </p:nvSpPr>
          <p:spPr bwMode="gray">
            <a:xfrm rot="16200000" flipH="1">
              <a:off x="12265200" y="4022693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34" name="Gleichschenkliges Dreieck 33"/>
            <p:cNvSpPr/>
            <p:nvPr userDrawn="1"/>
          </p:nvSpPr>
          <p:spPr bwMode="gray">
            <a:xfrm rot="16200000" flipH="1">
              <a:off x="12265200" y="6327743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35" name="Gleichschenkliges Dreieck 34"/>
            <p:cNvSpPr/>
            <p:nvPr userDrawn="1"/>
          </p:nvSpPr>
          <p:spPr bwMode="gray">
            <a:xfrm rot="16200000" flipH="1">
              <a:off x="12265200" y="6543647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36" name="Gleichschenkliges Dreieck 35"/>
            <p:cNvSpPr/>
            <p:nvPr userDrawn="1"/>
          </p:nvSpPr>
          <p:spPr bwMode="gray">
            <a:xfrm rot="16200000" flipH="1">
              <a:off x="12265200" y="1431000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05540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7BF6BF2A-AE47-41E7-B7CF-7764446C6D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6105" b="7791"/>
          <a:stretch/>
        </p:blipFill>
        <p:spPr>
          <a:xfrm>
            <a:off x="-2320" y="1484312"/>
            <a:ext cx="12192000" cy="5380043"/>
          </a:xfrm>
          <a:prstGeom prst="rect">
            <a:avLst/>
          </a:prstGeom>
        </p:spPr>
      </p:pic>
      <p:sp>
        <p:nvSpPr>
          <p:cNvPr id="8" name="Textfeld 7"/>
          <p:cNvSpPr txBox="1"/>
          <p:nvPr userDrawn="1"/>
        </p:nvSpPr>
        <p:spPr bwMode="gray">
          <a:xfrm>
            <a:off x="406453" y="6597657"/>
            <a:ext cx="7489213" cy="26034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de-DE" sz="1000" dirty="0">
                <a:solidFill>
                  <a:schemeClr val="bg1"/>
                </a:solidFill>
                <a:latin typeface="+mn-lt"/>
                <a:cs typeface="Segoe UI"/>
              </a:rPr>
              <a:t>© MHP Management- und IT-Beratung GmbH</a:t>
            </a:r>
          </a:p>
        </p:txBody>
      </p:sp>
      <p:sp>
        <p:nvSpPr>
          <p:cNvPr id="10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06453" y="3032314"/>
            <a:ext cx="11377506" cy="2808000"/>
          </a:xfrm>
        </p:spPr>
        <p:txBody>
          <a:bodyPr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32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2100" b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2100" b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2100" b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2100" b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2100" b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2100" b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2100" b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None/>
              <a:defRPr sz="21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Formatvorlage des Untertitelmasters durch Klicken bearbeiten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 bwMode="gray">
          <a:xfrm>
            <a:off x="406453" y="1484313"/>
            <a:ext cx="11377506" cy="1548000"/>
          </a:xfrm>
        </p:spPr>
        <p:txBody>
          <a:bodyPr wrap="square"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3200" b="1" cap="all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06455" y="5840314"/>
            <a:ext cx="7489212" cy="252511"/>
          </a:xfr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75000"/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75000"/>
              <a:buFont typeface="Wingdings" charset="2"/>
              <a:buNone/>
              <a:defRPr sz="16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Font typeface="Wingdings" charset="2"/>
              <a:buNone/>
              <a:defRPr sz="160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Vortragende(r)  l  Veranstaltung</a:t>
            </a:r>
          </a:p>
        </p:txBody>
      </p:sp>
    </p:spTree>
    <p:extLst>
      <p:ext uri="{BB962C8B-B14F-4D97-AF65-F5344CB8AC3E}">
        <p14:creationId xmlns:p14="http://schemas.microsoft.com/office/powerpoint/2010/main" val="716973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Kunden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1"/>
          <p:cNvSpPr>
            <a:spLocks noGrp="1"/>
          </p:cNvSpPr>
          <p:nvPr>
            <p:ph type="dt" sz="half" idx="10"/>
          </p:nvPr>
        </p:nvSpPr>
        <p:spPr bwMode="gray">
          <a:xfrm>
            <a:off x="527058" y="6890599"/>
            <a:ext cx="1009173" cy="260350"/>
          </a:xfrm>
        </p:spPr>
        <p:txBody>
          <a:bodyPr/>
          <a:lstStyle/>
          <a:p>
            <a:fld id="{263FF8A2-96C4-4851-94C8-79373C3EF5E8}" type="datetime1">
              <a:rPr lang="de-DE" smtClean="0"/>
              <a:t>16.03.2021</a:t>
            </a:fld>
            <a:endParaRPr lang="en-US" dirty="0"/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11"/>
          </p:nvPr>
        </p:nvSpPr>
        <p:spPr bwMode="gray">
          <a:xfrm>
            <a:off x="1536225" y="6890596"/>
            <a:ext cx="6672211" cy="260349"/>
          </a:xfrm>
        </p:spPr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2"/>
          </p:nvPr>
        </p:nvSpPr>
        <p:spPr bwMode="gray">
          <a:xfrm>
            <a:off x="11181401" y="6890595"/>
            <a:ext cx="480384" cy="260349"/>
          </a:xfrm>
        </p:spPr>
        <p:txBody>
          <a:bodyPr/>
          <a:lstStyle/>
          <a:p>
            <a:fld id="{2066355A-084C-D24E-9AD2-7E4FC41EA627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406454" y="404814"/>
            <a:ext cx="7776587" cy="792162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5" hasCustomPrompt="1"/>
          </p:nvPr>
        </p:nvSpPr>
        <p:spPr bwMode="gray">
          <a:xfrm>
            <a:off x="4007372" y="2692544"/>
            <a:ext cx="4175669" cy="2208643"/>
          </a:xfrm>
        </p:spPr>
        <p:txBody>
          <a:bodyPr tIns="288000"/>
          <a:lstStyle>
            <a:lvl1pPr algn="ctr"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 dirty="0"/>
              <a:t>Auf Icon klicken, </a:t>
            </a:r>
            <a:br>
              <a:rPr lang="de-DE" noProof="0" dirty="0"/>
            </a:br>
            <a:r>
              <a:rPr lang="de-DE" noProof="0" dirty="0"/>
              <a:t>um ein Kundenlogo einzufügen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1355279" y="6610351"/>
            <a:ext cx="100026" cy="1381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endParaRPr lang="en-US" sz="1400" b="1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5164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/ Zwische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Grafik 36">
            <a:extLst>
              <a:ext uri="{FF2B5EF4-FFF2-40B4-BE49-F238E27FC236}">
                <a16:creationId xmlns:a16="http://schemas.microsoft.com/office/drawing/2014/main" id="{743EEAB8-1B2A-45CC-8D5F-502295D319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68" b="7791"/>
          <a:stretch/>
        </p:blipFill>
        <p:spPr>
          <a:xfrm>
            <a:off x="-2320" y="0"/>
            <a:ext cx="12192000" cy="6864356"/>
          </a:xfrm>
          <a:prstGeom prst="rect">
            <a:avLst/>
          </a:prstGeom>
        </p:spPr>
      </p:pic>
      <p:sp>
        <p:nvSpPr>
          <p:cNvPr id="18" name="Rechteck 17"/>
          <p:cNvSpPr/>
          <p:nvPr userDrawn="1"/>
        </p:nvSpPr>
        <p:spPr bwMode="gray">
          <a:xfrm>
            <a:off x="406454" y="0"/>
            <a:ext cx="11785546" cy="6858004"/>
          </a:xfrm>
          <a:custGeom>
            <a:avLst/>
            <a:gdLst/>
            <a:ahLst/>
            <a:cxnLst/>
            <a:rect l="l" t="t" r="r" b="b"/>
            <a:pathLst>
              <a:path w="11785546" h="6858004">
                <a:moveTo>
                  <a:pt x="1204711" y="0"/>
                </a:moveTo>
                <a:lnTo>
                  <a:pt x="1585090" y="0"/>
                </a:lnTo>
                <a:lnTo>
                  <a:pt x="2304256" y="0"/>
                </a:lnTo>
                <a:lnTo>
                  <a:pt x="11785546" y="0"/>
                </a:lnTo>
                <a:lnTo>
                  <a:pt x="11785546" y="2852936"/>
                </a:lnTo>
                <a:lnTo>
                  <a:pt x="11785546" y="6858000"/>
                </a:lnTo>
                <a:lnTo>
                  <a:pt x="1585090" y="6858000"/>
                </a:lnTo>
                <a:lnTo>
                  <a:pt x="1099546" y="6858000"/>
                </a:lnTo>
                <a:lnTo>
                  <a:pt x="1099545" y="6858004"/>
                </a:lnTo>
                <a:lnTo>
                  <a:pt x="0" y="685800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endParaRPr lang="de-DE" sz="1400" b="1" dirty="0" err="1">
              <a:solidFill>
                <a:schemeClr val="bg1"/>
              </a:solidFill>
            </a:endParaRPr>
          </a:p>
        </p:txBody>
      </p:sp>
      <p:sp>
        <p:nvSpPr>
          <p:cNvPr id="15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06400" y="1484313"/>
            <a:ext cx="11374560" cy="4897437"/>
          </a:xfrm>
        </p:spPr>
        <p:txBody>
          <a:bodyPr lIns="1512000" tIns="288000" rIns="0" bIns="169276" anchor="t" anchorCtr="0">
            <a:noAutofit/>
          </a:bodyPr>
          <a:lstStyle>
            <a:lvl1pPr marL="479838" indent="-47983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600" b="0">
                <a:solidFill>
                  <a:schemeClr val="tx2"/>
                </a:solidFill>
              </a:defRPr>
            </a:lvl1pPr>
            <a:lvl2pPr marL="719756" indent="-241219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90000"/>
              <a:buFont typeface="Wingdings" panose="05000000000000000000" pitchFamily="2" charset="2"/>
              <a:buChar char="§"/>
              <a:defRPr sz="1400" b="0" baseline="0">
                <a:solidFill>
                  <a:schemeClr val="tx2"/>
                </a:solidFill>
              </a:defRPr>
            </a:lvl2pPr>
            <a:lvl3pPr marL="479838" indent="-47983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600" b="0">
                <a:solidFill>
                  <a:schemeClr val="tx2"/>
                </a:solidFill>
              </a:defRPr>
            </a:lvl3pPr>
            <a:lvl4pPr marL="479838" indent="-47983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600" b="0">
                <a:solidFill>
                  <a:schemeClr val="tx2"/>
                </a:solidFill>
              </a:defRPr>
            </a:lvl4pPr>
            <a:lvl5pPr marL="479838" indent="-47983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600" b="0" baseline="0">
                <a:solidFill>
                  <a:schemeClr val="tx2"/>
                </a:solidFill>
              </a:defRPr>
            </a:lvl5pPr>
            <a:lvl6pPr marL="479838" indent="-47983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600" b="0">
                <a:solidFill>
                  <a:schemeClr val="tx2"/>
                </a:solidFill>
              </a:defRPr>
            </a:lvl6pPr>
            <a:lvl7pPr marL="479838" indent="-47983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600" b="0">
                <a:solidFill>
                  <a:schemeClr val="tx2"/>
                </a:solidFill>
              </a:defRPr>
            </a:lvl7pPr>
            <a:lvl8pPr marL="479838" indent="-479838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Pct val="90000"/>
              <a:buFont typeface="+mj-lt"/>
              <a:buAutoNum type="arabicPeriod"/>
              <a:defRPr sz="2600" b="0">
                <a:solidFill>
                  <a:schemeClr val="bg2"/>
                </a:solidFill>
              </a:defRPr>
            </a:lvl8pPr>
            <a:lvl9pPr marL="479838" indent="-47983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600"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err="1"/>
              <a:t>Agendapunkt</a:t>
            </a:r>
            <a:r>
              <a:rPr lang="de-DE" dirty="0"/>
              <a:t> 1</a:t>
            </a:r>
          </a:p>
          <a:p>
            <a:pPr lvl="1"/>
            <a:r>
              <a:rPr lang="de-DE" dirty="0"/>
              <a:t>Unterpunkt</a:t>
            </a:r>
          </a:p>
          <a:p>
            <a:pPr lvl="0"/>
            <a:r>
              <a:rPr lang="de-DE" dirty="0" err="1"/>
              <a:t>Agendapunkt</a:t>
            </a:r>
            <a:r>
              <a:rPr lang="de-DE" dirty="0"/>
              <a:t> 2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406400" y="404814"/>
            <a:ext cx="7777163" cy="792162"/>
          </a:xfrm>
        </p:spPr>
        <p:txBody>
          <a:bodyPr lIns="1512000"/>
          <a:lstStyle>
            <a:lvl1pPr>
              <a:defRPr sz="52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genda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>
          <a:xfrm>
            <a:off x="10017438" y="6864356"/>
            <a:ext cx="1391970" cy="260350"/>
          </a:xfrm>
        </p:spPr>
        <p:txBody>
          <a:bodyPr/>
          <a:lstStyle/>
          <a:p>
            <a:fld id="{0A53F34A-1776-4CF9-A7B7-801786891889}" type="datetime1">
              <a:rPr lang="de-DE" smtClean="0"/>
              <a:t>16.03.2021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>
          <a:xfrm>
            <a:off x="406454" y="6864355"/>
            <a:ext cx="7489213" cy="260349"/>
          </a:xfrm>
        </p:spPr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3"/>
          </p:nvPr>
        </p:nvSpPr>
        <p:spPr>
          <a:xfrm>
            <a:off x="11409406" y="6864354"/>
            <a:ext cx="371554" cy="260349"/>
          </a:xfrm>
        </p:spPr>
        <p:txBody>
          <a:bodyPr/>
          <a:lstStyle/>
          <a:p>
            <a:fld id="{2066355A-084C-D24E-9AD2-7E4FC41EA627}" type="slidenum">
              <a:rPr lang="en-US" smtClean="0"/>
              <a:pPr/>
              <a:t>‹Nr.›</a:t>
            </a:fld>
            <a:endParaRPr lang="en-US" dirty="0"/>
          </a:p>
        </p:txBody>
      </p:sp>
      <p:grpSp>
        <p:nvGrpSpPr>
          <p:cNvPr id="9" name="Gruppieren 8"/>
          <p:cNvGrpSpPr/>
          <p:nvPr userDrawn="1"/>
        </p:nvGrpSpPr>
        <p:grpSpPr bwMode="gray">
          <a:xfrm>
            <a:off x="10566602" y="490326"/>
            <a:ext cx="1214480" cy="484470"/>
            <a:chOff x="-64593788" y="4924426"/>
            <a:chExt cx="63238063" cy="25223786"/>
          </a:xfrm>
        </p:grpSpPr>
        <p:sp>
          <p:nvSpPr>
            <p:cNvPr id="10" name="Freeform 7"/>
            <p:cNvSpPr>
              <a:spLocks/>
            </p:cNvSpPr>
            <p:nvPr userDrawn="1"/>
          </p:nvSpPr>
          <p:spPr bwMode="gray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solidFill>
              <a:srgbClr val="0000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1" name="Rectangle 8"/>
            <p:cNvSpPr>
              <a:spLocks noChangeArrowheads="1"/>
            </p:cNvSpPr>
            <p:nvPr userDrawn="1"/>
          </p:nvSpPr>
          <p:spPr bwMode="gray">
            <a:xfrm>
              <a:off x="-64587438" y="4926013"/>
              <a:ext cx="2549525" cy="15319375"/>
            </a:xfrm>
            <a:prstGeom prst="rect">
              <a:avLst/>
            </a:prstGeom>
            <a:solidFill>
              <a:srgbClr val="0000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" name="Rectangle 9"/>
            <p:cNvSpPr>
              <a:spLocks noChangeArrowheads="1"/>
            </p:cNvSpPr>
            <p:nvPr userDrawn="1"/>
          </p:nvSpPr>
          <p:spPr bwMode="gray">
            <a:xfrm>
              <a:off x="-51869975" y="4926013"/>
              <a:ext cx="2547938" cy="15319375"/>
            </a:xfrm>
            <a:prstGeom prst="rect">
              <a:avLst/>
            </a:prstGeom>
            <a:solidFill>
              <a:srgbClr val="0000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gray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solidFill>
              <a:srgbClr val="0000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6" name="Freeform 11"/>
            <p:cNvSpPr>
              <a:spLocks noEditPoints="1"/>
            </p:cNvSpPr>
            <p:nvPr userDrawn="1"/>
          </p:nvSpPr>
          <p:spPr bwMode="gray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gray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gray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gray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1" name="Freeform 15"/>
            <p:cNvSpPr>
              <a:spLocks/>
            </p:cNvSpPr>
            <p:nvPr userDrawn="1"/>
          </p:nvSpPr>
          <p:spPr bwMode="gray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2" name="Freeform 16"/>
            <p:cNvSpPr>
              <a:spLocks/>
            </p:cNvSpPr>
            <p:nvPr userDrawn="1"/>
          </p:nvSpPr>
          <p:spPr bwMode="gray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3" name="Freeform 17"/>
            <p:cNvSpPr>
              <a:spLocks/>
            </p:cNvSpPr>
            <p:nvPr userDrawn="1"/>
          </p:nvSpPr>
          <p:spPr bwMode="gray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4" name="Freeform 18"/>
            <p:cNvSpPr>
              <a:spLocks/>
            </p:cNvSpPr>
            <p:nvPr userDrawn="1"/>
          </p:nvSpPr>
          <p:spPr bwMode="gray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5" name="Freeform 19"/>
            <p:cNvSpPr>
              <a:spLocks/>
            </p:cNvSpPr>
            <p:nvPr userDrawn="1"/>
          </p:nvSpPr>
          <p:spPr bwMode="gray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6" name="Freeform 20"/>
            <p:cNvSpPr>
              <a:spLocks noEditPoints="1"/>
            </p:cNvSpPr>
            <p:nvPr userDrawn="1"/>
          </p:nvSpPr>
          <p:spPr bwMode="gray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7" name="Freeform 21"/>
            <p:cNvSpPr>
              <a:spLocks/>
            </p:cNvSpPr>
            <p:nvPr userDrawn="1"/>
          </p:nvSpPr>
          <p:spPr bwMode="gray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8" name="Freeform 22"/>
            <p:cNvSpPr>
              <a:spLocks noEditPoints="1"/>
            </p:cNvSpPr>
            <p:nvPr userDrawn="1"/>
          </p:nvSpPr>
          <p:spPr bwMode="gray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9" name="Freeform 23"/>
            <p:cNvSpPr>
              <a:spLocks noEditPoints="1"/>
            </p:cNvSpPr>
            <p:nvPr userDrawn="1"/>
          </p:nvSpPr>
          <p:spPr bwMode="gray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0" name="Freeform 24"/>
            <p:cNvSpPr>
              <a:spLocks/>
            </p:cNvSpPr>
            <p:nvPr userDrawn="1"/>
          </p:nvSpPr>
          <p:spPr bwMode="gray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1" name="Freeform 25"/>
            <p:cNvSpPr>
              <a:spLocks/>
            </p:cNvSpPr>
            <p:nvPr userDrawn="1"/>
          </p:nvSpPr>
          <p:spPr bwMode="gray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2" name="Freeform 26"/>
            <p:cNvSpPr>
              <a:spLocks/>
            </p:cNvSpPr>
            <p:nvPr userDrawn="1"/>
          </p:nvSpPr>
          <p:spPr bwMode="gray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3" name="Freeform 27"/>
            <p:cNvSpPr>
              <a:spLocks/>
            </p:cNvSpPr>
            <p:nvPr userDrawn="1"/>
          </p:nvSpPr>
          <p:spPr bwMode="gray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4" name="Freeform 28"/>
            <p:cNvSpPr>
              <a:spLocks noEditPoints="1"/>
            </p:cNvSpPr>
            <p:nvPr userDrawn="1"/>
          </p:nvSpPr>
          <p:spPr bwMode="gray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5" name="Freeform 29"/>
            <p:cNvSpPr>
              <a:spLocks/>
            </p:cNvSpPr>
            <p:nvPr userDrawn="1"/>
          </p:nvSpPr>
          <p:spPr bwMode="gray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</p:spTree>
    <p:extLst>
      <p:ext uri="{BB962C8B-B14F-4D97-AF65-F5344CB8AC3E}">
        <p14:creationId xmlns:p14="http://schemas.microsoft.com/office/powerpoint/2010/main" val="141357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/ Zwischenfolie - Rein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/>
          <p:cNvSpPr/>
          <p:nvPr userDrawn="1"/>
        </p:nvSpPr>
        <p:spPr bwMode="gray">
          <a:xfrm>
            <a:off x="406454" y="0"/>
            <a:ext cx="11785546" cy="6858004"/>
          </a:xfrm>
          <a:custGeom>
            <a:avLst/>
            <a:gdLst/>
            <a:ahLst/>
            <a:cxnLst/>
            <a:rect l="l" t="t" r="r" b="b"/>
            <a:pathLst>
              <a:path w="11785546" h="6858004">
                <a:moveTo>
                  <a:pt x="1204711" y="0"/>
                </a:moveTo>
                <a:lnTo>
                  <a:pt x="1585090" y="0"/>
                </a:lnTo>
                <a:lnTo>
                  <a:pt x="2304256" y="0"/>
                </a:lnTo>
                <a:lnTo>
                  <a:pt x="11785546" y="0"/>
                </a:lnTo>
                <a:lnTo>
                  <a:pt x="11785546" y="2852936"/>
                </a:lnTo>
                <a:lnTo>
                  <a:pt x="11785546" y="6858000"/>
                </a:lnTo>
                <a:lnTo>
                  <a:pt x="1585090" y="6858000"/>
                </a:lnTo>
                <a:lnTo>
                  <a:pt x="1099546" y="6858000"/>
                </a:lnTo>
                <a:lnTo>
                  <a:pt x="1099545" y="6858004"/>
                </a:lnTo>
                <a:lnTo>
                  <a:pt x="0" y="685800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endParaRPr lang="de-DE" sz="1400" b="1" dirty="0" err="1">
              <a:solidFill>
                <a:schemeClr val="bg1"/>
              </a:solidFill>
            </a:endParaRPr>
          </a:p>
        </p:txBody>
      </p:sp>
      <p:sp>
        <p:nvSpPr>
          <p:cNvPr id="15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06400" y="1484313"/>
            <a:ext cx="11374560" cy="4897437"/>
          </a:xfrm>
        </p:spPr>
        <p:txBody>
          <a:bodyPr lIns="0" tIns="288000" rIns="0" bIns="169276" anchor="t" anchorCtr="0">
            <a:noAutofit/>
          </a:bodyPr>
          <a:lstStyle>
            <a:lvl1pPr marL="479838" indent="-47983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600" b="0">
                <a:solidFill>
                  <a:schemeClr val="tx2"/>
                </a:solidFill>
              </a:defRPr>
            </a:lvl1pPr>
            <a:lvl2pPr marL="719756" indent="-241219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90000"/>
              <a:buFont typeface="Wingdings" panose="05000000000000000000" pitchFamily="2" charset="2"/>
              <a:buChar char="§"/>
              <a:defRPr sz="1400" b="0" baseline="0">
                <a:solidFill>
                  <a:schemeClr val="tx2"/>
                </a:solidFill>
              </a:defRPr>
            </a:lvl2pPr>
            <a:lvl3pPr marL="479838" indent="-47983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600" b="0">
                <a:solidFill>
                  <a:schemeClr val="tx2"/>
                </a:solidFill>
              </a:defRPr>
            </a:lvl3pPr>
            <a:lvl4pPr marL="479838" indent="-47983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600" b="0">
                <a:solidFill>
                  <a:schemeClr val="tx2"/>
                </a:solidFill>
              </a:defRPr>
            </a:lvl4pPr>
            <a:lvl5pPr marL="479838" indent="-47983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600" b="0" baseline="0">
                <a:solidFill>
                  <a:schemeClr val="tx2"/>
                </a:solidFill>
              </a:defRPr>
            </a:lvl5pPr>
            <a:lvl6pPr marL="479838" indent="-47983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600" b="0">
                <a:solidFill>
                  <a:schemeClr val="tx2"/>
                </a:solidFill>
              </a:defRPr>
            </a:lvl6pPr>
            <a:lvl7pPr marL="479838" indent="-47983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600" b="0">
                <a:solidFill>
                  <a:schemeClr val="tx2"/>
                </a:solidFill>
              </a:defRPr>
            </a:lvl7pPr>
            <a:lvl8pPr marL="479838" indent="-479838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Pct val="90000"/>
              <a:buFont typeface="+mj-lt"/>
              <a:buAutoNum type="arabicPeriod"/>
              <a:defRPr sz="2600" b="0">
                <a:solidFill>
                  <a:schemeClr val="bg2"/>
                </a:solidFill>
              </a:defRPr>
            </a:lvl8pPr>
            <a:lvl9pPr marL="479838" indent="-47983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600"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err="1"/>
              <a:t>Agendapunkt</a:t>
            </a:r>
            <a:r>
              <a:rPr lang="de-DE" dirty="0"/>
              <a:t> 1</a:t>
            </a:r>
          </a:p>
          <a:p>
            <a:pPr lvl="1"/>
            <a:r>
              <a:rPr lang="de-DE" dirty="0"/>
              <a:t>Unterpunkt</a:t>
            </a:r>
          </a:p>
          <a:p>
            <a:pPr lvl="0"/>
            <a:r>
              <a:rPr lang="de-DE" dirty="0" err="1"/>
              <a:t>Agendapunkt</a:t>
            </a:r>
            <a:r>
              <a:rPr lang="de-DE" dirty="0"/>
              <a:t> 2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406400" y="404814"/>
            <a:ext cx="7777163" cy="792162"/>
          </a:xfrm>
        </p:spPr>
        <p:txBody>
          <a:bodyPr lIns="0"/>
          <a:lstStyle>
            <a:lvl1pPr>
              <a:defRPr sz="52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Agenda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>
          <a:xfrm>
            <a:off x="10017438" y="6854831"/>
            <a:ext cx="1391970" cy="260350"/>
          </a:xfrm>
        </p:spPr>
        <p:txBody>
          <a:bodyPr/>
          <a:lstStyle/>
          <a:p>
            <a:fld id="{0A53F34A-1776-4CF9-A7B7-801786891889}" type="datetime1">
              <a:rPr lang="de-DE" smtClean="0"/>
              <a:t>16.03.2021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>
          <a:xfrm>
            <a:off x="406454" y="6854830"/>
            <a:ext cx="7489213" cy="260349"/>
          </a:xfrm>
        </p:spPr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3"/>
          </p:nvPr>
        </p:nvSpPr>
        <p:spPr>
          <a:xfrm>
            <a:off x="11409406" y="6854829"/>
            <a:ext cx="371554" cy="260349"/>
          </a:xfrm>
        </p:spPr>
        <p:txBody>
          <a:bodyPr/>
          <a:lstStyle/>
          <a:p>
            <a:fld id="{2066355A-084C-D24E-9AD2-7E4FC41EA627}" type="slidenum">
              <a:rPr lang="en-US" smtClean="0"/>
              <a:pPr/>
              <a:t>‹Nr.›</a:t>
            </a:fld>
            <a:endParaRPr lang="en-US" dirty="0"/>
          </a:p>
        </p:txBody>
      </p:sp>
      <p:grpSp>
        <p:nvGrpSpPr>
          <p:cNvPr id="9" name="Gruppieren 8"/>
          <p:cNvGrpSpPr/>
          <p:nvPr userDrawn="1"/>
        </p:nvGrpSpPr>
        <p:grpSpPr bwMode="gray">
          <a:xfrm>
            <a:off x="10566602" y="490326"/>
            <a:ext cx="1214480" cy="484470"/>
            <a:chOff x="-64593788" y="4924426"/>
            <a:chExt cx="63238063" cy="25223786"/>
          </a:xfrm>
        </p:grpSpPr>
        <p:sp>
          <p:nvSpPr>
            <p:cNvPr id="10" name="Freeform 7"/>
            <p:cNvSpPr>
              <a:spLocks/>
            </p:cNvSpPr>
            <p:nvPr userDrawn="1"/>
          </p:nvSpPr>
          <p:spPr bwMode="gray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solidFill>
              <a:srgbClr val="0000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1" name="Rectangle 8"/>
            <p:cNvSpPr>
              <a:spLocks noChangeArrowheads="1"/>
            </p:cNvSpPr>
            <p:nvPr userDrawn="1"/>
          </p:nvSpPr>
          <p:spPr bwMode="gray">
            <a:xfrm>
              <a:off x="-64587438" y="4926013"/>
              <a:ext cx="2549525" cy="15319375"/>
            </a:xfrm>
            <a:prstGeom prst="rect">
              <a:avLst/>
            </a:prstGeom>
            <a:solidFill>
              <a:srgbClr val="0000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" name="Rectangle 9"/>
            <p:cNvSpPr>
              <a:spLocks noChangeArrowheads="1"/>
            </p:cNvSpPr>
            <p:nvPr userDrawn="1"/>
          </p:nvSpPr>
          <p:spPr bwMode="gray">
            <a:xfrm>
              <a:off x="-51869975" y="4926013"/>
              <a:ext cx="2547938" cy="15319375"/>
            </a:xfrm>
            <a:prstGeom prst="rect">
              <a:avLst/>
            </a:prstGeom>
            <a:solidFill>
              <a:srgbClr val="0000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gray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solidFill>
              <a:srgbClr val="0000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6" name="Freeform 11"/>
            <p:cNvSpPr>
              <a:spLocks noEditPoints="1"/>
            </p:cNvSpPr>
            <p:nvPr userDrawn="1"/>
          </p:nvSpPr>
          <p:spPr bwMode="gray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gray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gray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gray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1" name="Freeform 15"/>
            <p:cNvSpPr>
              <a:spLocks/>
            </p:cNvSpPr>
            <p:nvPr userDrawn="1"/>
          </p:nvSpPr>
          <p:spPr bwMode="gray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2" name="Freeform 16"/>
            <p:cNvSpPr>
              <a:spLocks/>
            </p:cNvSpPr>
            <p:nvPr userDrawn="1"/>
          </p:nvSpPr>
          <p:spPr bwMode="gray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3" name="Freeform 17"/>
            <p:cNvSpPr>
              <a:spLocks/>
            </p:cNvSpPr>
            <p:nvPr userDrawn="1"/>
          </p:nvSpPr>
          <p:spPr bwMode="gray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4" name="Freeform 18"/>
            <p:cNvSpPr>
              <a:spLocks/>
            </p:cNvSpPr>
            <p:nvPr userDrawn="1"/>
          </p:nvSpPr>
          <p:spPr bwMode="gray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5" name="Freeform 19"/>
            <p:cNvSpPr>
              <a:spLocks/>
            </p:cNvSpPr>
            <p:nvPr userDrawn="1"/>
          </p:nvSpPr>
          <p:spPr bwMode="gray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6" name="Freeform 20"/>
            <p:cNvSpPr>
              <a:spLocks noEditPoints="1"/>
            </p:cNvSpPr>
            <p:nvPr userDrawn="1"/>
          </p:nvSpPr>
          <p:spPr bwMode="gray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7" name="Freeform 21"/>
            <p:cNvSpPr>
              <a:spLocks/>
            </p:cNvSpPr>
            <p:nvPr userDrawn="1"/>
          </p:nvSpPr>
          <p:spPr bwMode="gray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8" name="Freeform 22"/>
            <p:cNvSpPr>
              <a:spLocks noEditPoints="1"/>
            </p:cNvSpPr>
            <p:nvPr userDrawn="1"/>
          </p:nvSpPr>
          <p:spPr bwMode="gray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9" name="Freeform 23"/>
            <p:cNvSpPr>
              <a:spLocks noEditPoints="1"/>
            </p:cNvSpPr>
            <p:nvPr userDrawn="1"/>
          </p:nvSpPr>
          <p:spPr bwMode="gray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0" name="Freeform 24"/>
            <p:cNvSpPr>
              <a:spLocks/>
            </p:cNvSpPr>
            <p:nvPr userDrawn="1"/>
          </p:nvSpPr>
          <p:spPr bwMode="gray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1" name="Freeform 25"/>
            <p:cNvSpPr>
              <a:spLocks/>
            </p:cNvSpPr>
            <p:nvPr userDrawn="1"/>
          </p:nvSpPr>
          <p:spPr bwMode="gray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2" name="Freeform 26"/>
            <p:cNvSpPr>
              <a:spLocks/>
            </p:cNvSpPr>
            <p:nvPr userDrawn="1"/>
          </p:nvSpPr>
          <p:spPr bwMode="gray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3" name="Freeform 27"/>
            <p:cNvSpPr>
              <a:spLocks/>
            </p:cNvSpPr>
            <p:nvPr userDrawn="1"/>
          </p:nvSpPr>
          <p:spPr bwMode="gray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4" name="Freeform 28"/>
            <p:cNvSpPr>
              <a:spLocks noEditPoints="1"/>
            </p:cNvSpPr>
            <p:nvPr userDrawn="1"/>
          </p:nvSpPr>
          <p:spPr bwMode="gray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5" name="Freeform 29"/>
            <p:cNvSpPr>
              <a:spLocks/>
            </p:cNvSpPr>
            <p:nvPr userDrawn="1"/>
          </p:nvSpPr>
          <p:spPr bwMode="gray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</p:spTree>
    <p:extLst>
      <p:ext uri="{BB962C8B-B14F-4D97-AF65-F5344CB8AC3E}">
        <p14:creationId xmlns:p14="http://schemas.microsoft.com/office/powerpoint/2010/main" val="2820219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95775" y="1196975"/>
            <a:ext cx="7485186" cy="5184775"/>
          </a:xfrm>
        </p:spPr>
        <p:txBody>
          <a:bodyPr anchor="ctr"/>
          <a:lstStyle>
            <a:lvl1pPr>
              <a:defRPr sz="5200"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Kapitelüberschrift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1F924D-D0F0-48B3-AB8A-6E39FBD75350}" type="datetime1">
              <a:rPr lang="de-DE" smtClean="0"/>
              <a:pPr/>
              <a:t>16.03.2021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MHP Management- und IT-Beratung GmbH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6" name="Bildplatzhalter 7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-1" y="0"/>
            <a:ext cx="4295775" cy="6858000"/>
          </a:xfrm>
          <a:custGeom>
            <a:avLst/>
            <a:gdLst>
              <a:gd name="connsiteX0" fmla="*/ 0 w 4295775"/>
              <a:gd name="connsiteY0" fmla="*/ 0 h 6858000"/>
              <a:gd name="connsiteX1" fmla="*/ 4295775 w 4295775"/>
              <a:gd name="connsiteY1" fmla="*/ 0 h 6858000"/>
              <a:gd name="connsiteX2" fmla="*/ 4295775 w 4295775"/>
              <a:gd name="connsiteY2" fmla="*/ 6858000 h 6858000"/>
              <a:gd name="connsiteX3" fmla="*/ 0 w 4295775"/>
              <a:gd name="connsiteY3" fmla="*/ 6858000 h 6858000"/>
              <a:gd name="connsiteX4" fmla="*/ 0 w 4295775"/>
              <a:gd name="connsiteY4" fmla="*/ 0 h 6858000"/>
              <a:gd name="connsiteX0" fmla="*/ 0 w 4295775"/>
              <a:gd name="connsiteY0" fmla="*/ 0 h 6858000"/>
              <a:gd name="connsiteX1" fmla="*/ 4295775 w 4295775"/>
              <a:gd name="connsiteY1" fmla="*/ 0 h 6858000"/>
              <a:gd name="connsiteX2" fmla="*/ 3114975 w 4295775"/>
              <a:gd name="connsiteY2" fmla="*/ 6858000 h 6858000"/>
              <a:gd name="connsiteX3" fmla="*/ 0 w 4295775"/>
              <a:gd name="connsiteY3" fmla="*/ 6858000 h 6858000"/>
              <a:gd name="connsiteX4" fmla="*/ 0 w 4295775"/>
              <a:gd name="connsiteY4" fmla="*/ 0 h 6858000"/>
              <a:gd name="connsiteX0" fmla="*/ 0 w 4295775"/>
              <a:gd name="connsiteY0" fmla="*/ 0 h 6858000"/>
              <a:gd name="connsiteX1" fmla="*/ 4295775 w 4295775"/>
              <a:gd name="connsiteY1" fmla="*/ 0 h 6858000"/>
              <a:gd name="connsiteX2" fmla="*/ 3095925 w 4295775"/>
              <a:gd name="connsiteY2" fmla="*/ 6858000 h 6858000"/>
              <a:gd name="connsiteX3" fmla="*/ 0 w 4295775"/>
              <a:gd name="connsiteY3" fmla="*/ 6858000 h 6858000"/>
              <a:gd name="connsiteX4" fmla="*/ 0 w 4295775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95775" h="6858000">
                <a:moveTo>
                  <a:pt x="0" y="0"/>
                </a:moveTo>
                <a:lnTo>
                  <a:pt x="4295775" y="0"/>
                </a:lnTo>
                <a:lnTo>
                  <a:pt x="3095925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bIns="756000" anchor="ctr"/>
          <a:lstStyle>
            <a:lvl1pPr algn="ctr">
              <a:defRPr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Auf Icon klicken, </a:t>
            </a:r>
            <a:br>
              <a:rPr lang="de-DE" dirty="0"/>
            </a:br>
            <a:r>
              <a:rPr lang="de-DE" dirty="0"/>
              <a:t>um ein Bild einzufügen</a:t>
            </a:r>
          </a:p>
        </p:txBody>
      </p:sp>
    </p:spTree>
    <p:extLst>
      <p:ext uri="{BB962C8B-B14F-4D97-AF65-F5344CB8AC3E}">
        <p14:creationId xmlns:p14="http://schemas.microsoft.com/office/powerpoint/2010/main" val="1748673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06455" y="1484313"/>
            <a:ext cx="11377558" cy="4897437"/>
          </a:xfrm>
        </p:spPr>
        <p:txBody>
          <a:bodyPr/>
          <a:lstStyle>
            <a:lvl5pPr>
              <a:defRPr/>
            </a:lvl5pPr>
            <a:lvl6pPr marL="239698" indent="0">
              <a:buNone/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43CE7C91-877C-44D6-9892-950E5E0626D1}" type="datetime1">
              <a:rPr lang="de-DE" smtClean="0"/>
              <a:t>16.03.2021</a:t>
            </a:fld>
            <a:endParaRPr lang="en-US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7" hasCustomPrompt="1"/>
          </p:nvPr>
        </p:nvSpPr>
        <p:spPr>
          <a:xfrm>
            <a:off x="406454" y="0"/>
            <a:ext cx="7777162" cy="404813"/>
          </a:xfrm>
        </p:spPr>
        <p:txBody>
          <a:bodyPr anchor="b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 Kapitelüberschrift hinzufügen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06454" y="404814"/>
            <a:ext cx="7777109" cy="792162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09712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2 Inhalte 1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fld id="{E243A558-6A64-40D2-ABA5-CC0024ABAEAB}" type="datetime1">
              <a:rPr lang="de-DE" smtClean="0"/>
              <a:t>16.03.2021</a:t>
            </a:fld>
            <a:endParaRPr lang="en-US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27" hasCustomPrompt="1"/>
          </p:nvPr>
        </p:nvSpPr>
        <p:spPr>
          <a:xfrm>
            <a:off x="406400" y="0"/>
            <a:ext cx="7776000" cy="404813"/>
          </a:xfrm>
        </p:spPr>
        <p:txBody>
          <a:bodyPr anchor="b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 Kapitelüberschrift hinzufügen</a:t>
            </a:r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22"/>
          </p:nvPr>
        </p:nvSpPr>
        <p:spPr bwMode="gray">
          <a:xfrm>
            <a:off x="406453" y="1484312"/>
            <a:ext cx="5545085" cy="48974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Textplatzhalter 2"/>
          <p:cNvSpPr>
            <a:spLocks noGrp="1"/>
          </p:cNvSpPr>
          <p:nvPr>
            <p:ph type="body" sz="quarter" idx="33"/>
          </p:nvPr>
        </p:nvSpPr>
        <p:spPr bwMode="gray">
          <a:xfrm>
            <a:off x="6240463" y="1484312"/>
            <a:ext cx="5543550" cy="48974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68376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 2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83564" y="1483200"/>
            <a:ext cx="3598100" cy="4898550"/>
          </a:xfrm>
        </p:spPr>
        <p:txBody>
          <a:bodyPr bIns="1199594" anchor="ctr">
            <a:noAutofit/>
          </a:bodyPr>
          <a:lstStyle>
            <a:lvl1pPr algn="ctr">
              <a:defRPr sz="1400" baseline="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Auf Icon klicken, </a:t>
            </a:r>
            <a:br>
              <a:rPr lang="de-DE" dirty="0"/>
            </a:br>
            <a:r>
              <a:rPr lang="de-DE" dirty="0"/>
              <a:t>um ein Bild einzufüg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/>
          </p:nvPr>
        </p:nvSpPr>
        <p:spPr bwMode="gray">
          <a:xfrm>
            <a:off x="406453" y="1484313"/>
            <a:ext cx="7489214" cy="4897437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85F3669E-AC4A-4E81-AD65-5336D3B883ED}" type="datetime1">
              <a:rPr lang="de-DE" smtClean="0"/>
              <a:t>16.03.2021</a:t>
            </a:fld>
            <a:endParaRPr lang="en-US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27" hasCustomPrompt="1"/>
          </p:nvPr>
        </p:nvSpPr>
        <p:spPr>
          <a:xfrm>
            <a:off x="406400" y="0"/>
            <a:ext cx="7776000" cy="404813"/>
          </a:xfrm>
        </p:spPr>
        <p:txBody>
          <a:bodyPr anchor="b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 Kapitelüberschrift hinzufügen</a:t>
            </a:r>
          </a:p>
        </p:txBody>
      </p:sp>
    </p:spTree>
    <p:extLst>
      <p:ext uri="{BB962C8B-B14F-4D97-AF65-F5344CB8AC3E}">
        <p14:creationId xmlns:p14="http://schemas.microsoft.com/office/powerpoint/2010/main" val="4103738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8733490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22" imgW="424" imgH="424" progId="TCLayout.ActiveDocument.1">
                  <p:embed/>
                </p:oleObj>
              </mc:Choice>
              <mc:Fallback>
                <p:oleObj name="think-cell Folie" r:id="rId22" imgW="424" imgH="424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uppieren 8"/>
          <p:cNvGrpSpPr/>
          <p:nvPr userDrawn="1"/>
        </p:nvGrpSpPr>
        <p:grpSpPr>
          <a:xfrm>
            <a:off x="-180007" y="-180000"/>
            <a:ext cx="12553214" cy="7218000"/>
            <a:chOff x="-180007" y="-180000"/>
            <a:chExt cx="12553214" cy="7218000"/>
          </a:xfrm>
        </p:grpSpPr>
        <p:sp>
          <p:nvSpPr>
            <p:cNvPr id="1032" name="Gleichschenkliges Dreieck 1031"/>
            <p:cNvSpPr/>
            <p:nvPr userDrawn="1"/>
          </p:nvSpPr>
          <p:spPr bwMode="gray">
            <a:xfrm rot="10800000">
              <a:off x="354000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68" name="Gleichschenkliges Dreieck 67"/>
            <p:cNvSpPr/>
            <p:nvPr userDrawn="1"/>
          </p:nvSpPr>
          <p:spPr bwMode="gray">
            <a:xfrm rot="10800000">
              <a:off x="3954000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70" name="Gleichschenkliges Dreieck 69"/>
            <p:cNvSpPr/>
            <p:nvPr userDrawn="1"/>
          </p:nvSpPr>
          <p:spPr bwMode="gray">
            <a:xfrm rot="10800000">
              <a:off x="4242000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71" name="Gleichschenkliges Dreieck 70"/>
            <p:cNvSpPr/>
            <p:nvPr userDrawn="1"/>
          </p:nvSpPr>
          <p:spPr bwMode="gray">
            <a:xfrm rot="10800000">
              <a:off x="5898000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72" name="Gleichschenkliges Dreieck 71"/>
            <p:cNvSpPr/>
            <p:nvPr userDrawn="1"/>
          </p:nvSpPr>
          <p:spPr bwMode="gray">
            <a:xfrm rot="10800000">
              <a:off x="6186000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73" name="Gleichschenkliges Dreieck 72"/>
            <p:cNvSpPr/>
            <p:nvPr userDrawn="1"/>
          </p:nvSpPr>
          <p:spPr bwMode="gray">
            <a:xfrm rot="10800000">
              <a:off x="7841658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74" name="Gleichschenkliges Dreieck 73"/>
            <p:cNvSpPr/>
            <p:nvPr userDrawn="1"/>
          </p:nvSpPr>
          <p:spPr bwMode="gray">
            <a:xfrm rot="10800000">
              <a:off x="8130000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75" name="Gleichschenkliges Dreieck 74"/>
            <p:cNvSpPr/>
            <p:nvPr userDrawn="1"/>
          </p:nvSpPr>
          <p:spPr bwMode="gray">
            <a:xfrm rot="10800000">
              <a:off x="11729951" y="-18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77" name="Gleichschenkliges Dreieck 76"/>
            <p:cNvSpPr/>
            <p:nvPr userDrawn="1"/>
          </p:nvSpPr>
          <p:spPr bwMode="gray">
            <a:xfrm rot="10800000" flipV="1">
              <a:off x="354000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78" name="Gleichschenkliges Dreieck 77"/>
            <p:cNvSpPr/>
            <p:nvPr userDrawn="1"/>
          </p:nvSpPr>
          <p:spPr bwMode="gray">
            <a:xfrm rot="10800000" flipV="1">
              <a:off x="3954000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79" name="Gleichschenkliges Dreieck 78"/>
            <p:cNvSpPr/>
            <p:nvPr userDrawn="1"/>
          </p:nvSpPr>
          <p:spPr bwMode="gray">
            <a:xfrm rot="10800000" flipV="1">
              <a:off x="4242000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0" name="Gleichschenkliges Dreieck 79"/>
            <p:cNvSpPr/>
            <p:nvPr userDrawn="1"/>
          </p:nvSpPr>
          <p:spPr bwMode="gray">
            <a:xfrm rot="10800000" flipV="1">
              <a:off x="5898000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1" name="Gleichschenkliges Dreieck 80"/>
            <p:cNvSpPr/>
            <p:nvPr userDrawn="1"/>
          </p:nvSpPr>
          <p:spPr bwMode="gray">
            <a:xfrm rot="10800000" flipV="1">
              <a:off x="6186000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2" name="Gleichschenkliges Dreieck 81"/>
            <p:cNvSpPr/>
            <p:nvPr userDrawn="1"/>
          </p:nvSpPr>
          <p:spPr bwMode="gray">
            <a:xfrm rot="10800000" flipV="1">
              <a:off x="7841658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3" name="Gleichschenkliges Dreieck 82"/>
            <p:cNvSpPr/>
            <p:nvPr userDrawn="1"/>
          </p:nvSpPr>
          <p:spPr bwMode="gray">
            <a:xfrm rot="10800000" flipV="1">
              <a:off x="8130000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4" name="Gleichschenkliges Dreieck 83"/>
            <p:cNvSpPr/>
            <p:nvPr userDrawn="1"/>
          </p:nvSpPr>
          <p:spPr bwMode="gray">
            <a:xfrm rot="10800000" flipV="1">
              <a:off x="11729951" y="6930000"/>
              <a:ext cx="108014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7" name="Gleichschenkliges Dreieck 86"/>
            <p:cNvSpPr/>
            <p:nvPr userDrawn="1"/>
          </p:nvSpPr>
          <p:spPr bwMode="gray">
            <a:xfrm rot="5400000">
              <a:off x="-180000" y="351000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93" name="Gleichschenkliges Dreieck 92"/>
            <p:cNvSpPr/>
            <p:nvPr userDrawn="1"/>
          </p:nvSpPr>
          <p:spPr bwMode="gray">
            <a:xfrm rot="5400000">
              <a:off x="-180000" y="1143000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94" name="Gleichschenkliges Dreieck 93"/>
            <p:cNvSpPr/>
            <p:nvPr userDrawn="1"/>
          </p:nvSpPr>
          <p:spPr bwMode="gray">
            <a:xfrm rot="5400000">
              <a:off x="-180000" y="3734693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95" name="Gleichschenkliges Dreieck 94"/>
            <p:cNvSpPr/>
            <p:nvPr userDrawn="1"/>
          </p:nvSpPr>
          <p:spPr bwMode="gray">
            <a:xfrm rot="5400000">
              <a:off x="-180000" y="4022693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96" name="Gleichschenkliges Dreieck 95"/>
            <p:cNvSpPr/>
            <p:nvPr userDrawn="1"/>
          </p:nvSpPr>
          <p:spPr bwMode="gray">
            <a:xfrm rot="5400000">
              <a:off x="-180000" y="6327742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98" name="Gleichschenkliges Dreieck 97"/>
            <p:cNvSpPr/>
            <p:nvPr userDrawn="1"/>
          </p:nvSpPr>
          <p:spPr bwMode="gray">
            <a:xfrm rot="5400000">
              <a:off x="-180000" y="6543646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56" name="Gleichschenkliges Dreieck 55"/>
            <p:cNvSpPr/>
            <p:nvPr userDrawn="1"/>
          </p:nvSpPr>
          <p:spPr bwMode="gray">
            <a:xfrm rot="5400000">
              <a:off x="-180000" y="1431000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5" name="Gleichschenkliges Dreieck 84"/>
            <p:cNvSpPr/>
            <p:nvPr userDrawn="1"/>
          </p:nvSpPr>
          <p:spPr bwMode="gray">
            <a:xfrm rot="16200000" flipH="1">
              <a:off x="12265200" y="351000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6" name="Gleichschenkliges Dreieck 85"/>
            <p:cNvSpPr/>
            <p:nvPr userDrawn="1"/>
          </p:nvSpPr>
          <p:spPr bwMode="gray">
            <a:xfrm rot="16200000" flipH="1">
              <a:off x="12265200" y="1143000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8" name="Gleichschenkliges Dreieck 87"/>
            <p:cNvSpPr/>
            <p:nvPr userDrawn="1"/>
          </p:nvSpPr>
          <p:spPr bwMode="gray">
            <a:xfrm rot="16200000" flipH="1">
              <a:off x="12265200" y="3734693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9" name="Gleichschenkliges Dreieck 88"/>
            <p:cNvSpPr/>
            <p:nvPr userDrawn="1"/>
          </p:nvSpPr>
          <p:spPr bwMode="gray">
            <a:xfrm rot="16200000" flipH="1">
              <a:off x="12265200" y="4022693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90" name="Gleichschenkliges Dreieck 89"/>
            <p:cNvSpPr/>
            <p:nvPr userDrawn="1"/>
          </p:nvSpPr>
          <p:spPr bwMode="gray">
            <a:xfrm rot="16200000" flipH="1">
              <a:off x="12265200" y="6327743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91" name="Gleichschenkliges Dreieck 90"/>
            <p:cNvSpPr/>
            <p:nvPr userDrawn="1"/>
          </p:nvSpPr>
          <p:spPr bwMode="gray">
            <a:xfrm rot="16200000" flipH="1">
              <a:off x="12265200" y="6543647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92" name="Gleichschenkliges Dreieck 91"/>
            <p:cNvSpPr/>
            <p:nvPr userDrawn="1"/>
          </p:nvSpPr>
          <p:spPr bwMode="gray">
            <a:xfrm rot="16200000" flipH="1">
              <a:off x="12265200" y="1431000"/>
              <a:ext cx="108000" cy="108014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sz="2400" b="1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06454" y="404814"/>
            <a:ext cx="7777109" cy="792162"/>
          </a:xfrm>
          <a:prstGeom prst="rect">
            <a:avLst/>
          </a:prstGeom>
        </p:spPr>
        <p:txBody>
          <a:bodyPr vert="horz" lIns="0" tIns="71975" rIns="0" bIns="0" rtlCol="0" anchor="t">
            <a:noAutofit/>
          </a:bodyPr>
          <a:lstStyle/>
          <a:p>
            <a:pPr lvl="0"/>
            <a:r>
              <a:rPr lang="de-DE" dirty="0"/>
              <a:t>Mastertitelformat </a:t>
            </a:r>
            <a:br>
              <a:rPr lang="de-DE" dirty="0"/>
            </a:br>
            <a:r>
              <a:rPr lang="de-DE" dirty="0"/>
              <a:t>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06454" y="1484384"/>
            <a:ext cx="11377559" cy="48783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0017438" y="6597654"/>
            <a:ext cx="1391970" cy="260350"/>
          </a:xfrm>
          <a:prstGeom prst="rect">
            <a:avLst/>
          </a:prstGeom>
        </p:spPr>
        <p:txBody>
          <a:bodyPr vert="horz" lIns="0" tIns="0" rIns="108000" bIns="0" rtlCol="0" anchor="t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211F924D-D0F0-48B3-AB8A-6E39FBD75350}" type="datetime1">
              <a:rPr lang="de-DE" smtClean="0"/>
              <a:pPr/>
              <a:t>16.03.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6454" y="6597653"/>
            <a:ext cx="7489213" cy="260349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 cap="none"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409406" y="6597652"/>
            <a:ext cx="371554" cy="260349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2066355A-084C-D24E-9AD2-7E4FC41EA627}" type="slidenum">
              <a:rPr lang="de-DE" noProof="0" smtClean="0"/>
              <a:pPr/>
              <a:t>‹Nr.›</a:t>
            </a:fld>
            <a:endParaRPr lang="de-DE" noProof="0"/>
          </a:p>
        </p:txBody>
      </p:sp>
      <p:grpSp>
        <p:nvGrpSpPr>
          <p:cNvPr id="120" name="Gruppieren 119"/>
          <p:cNvGrpSpPr/>
          <p:nvPr userDrawn="1"/>
        </p:nvGrpSpPr>
        <p:grpSpPr bwMode="gray">
          <a:xfrm>
            <a:off x="10566602" y="490326"/>
            <a:ext cx="1214480" cy="484470"/>
            <a:chOff x="-64593788" y="4924426"/>
            <a:chExt cx="63238063" cy="25223786"/>
          </a:xfrm>
        </p:grpSpPr>
        <p:sp>
          <p:nvSpPr>
            <p:cNvPr id="121" name="Freeform 7"/>
            <p:cNvSpPr>
              <a:spLocks/>
            </p:cNvSpPr>
            <p:nvPr userDrawn="1"/>
          </p:nvSpPr>
          <p:spPr bwMode="gray">
            <a:xfrm>
              <a:off x="-57942163" y="4926013"/>
              <a:ext cx="3529013" cy="5961062"/>
            </a:xfrm>
            <a:custGeom>
              <a:avLst/>
              <a:gdLst>
                <a:gd name="T0" fmla="*/ 0 w 2223"/>
                <a:gd name="T1" fmla="*/ 3755 h 3755"/>
                <a:gd name="T2" fmla="*/ 1606 w 2223"/>
                <a:gd name="T3" fmla="*/ 3755 h 3755"/>
                <a:gd name="T4" fmla="*/ 2223 w 2223"/>
                <a:gd name="T5" fmla="*/ 0 h 3755"/>
                <a:gd name="T6" fmla="*/ 624 w 2223"/>
                <a:gd name="T7" fmla="*/ 0 h 3755"/>
                <a:gd name="T8" fmla="*/ 0 w 2223"/>
                <a:gd name="T9" fmla="*/ 3755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3" h="3755">
                  <a:moveTo>
                    <a:pt x="0" y="3755"/>
                  </a:moveTo>
                  <a:lnTo>
                    <a:pt x="1606" y="3755"/>
                  </a:lnTo>
                  <a:lnTo>
                    <a:pt x="2223" y="0"/>
                  </a:lnTo>
                  <a:lnTo>
                    <a:pt x="624" y="0"/>
                  </a:lnTo>
                  <a:lnTo>
                    <a:pt x="0" y="3755"/>
                  </a:lnTo>
                  <a:close/>
                </a:path>
              </a:pathLst>
            </a:custGeom>
            <a:solidFill>
              <a:srgbClr val="0000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2" name="Rectangle 8"/>
            <p:cNvSpPr>
              <a:spLocks noChangeArrowheads="1"/>
            </p:cNvSpPr>
            <p:nvPr userDrawn="1"/>
          </p:nvSpPr>
          <p:spPr bwMode="gray">
            <a:xfrm>
              <a:off x="-64587438" y="4926013"/>
              <a:ext cx="2549525" cy="15319375"/>
            </a:xfrm>
            <a:prstGeom prst="rect">
              <a:avLst/>
            </a:prstGeom>
            <a:solidFill>
              <a:srgbClr val="0000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3" name="Rectangle 9"/>
            <p:cNvSpPr>
              <a:spLocks noChangeArrowheads="1"/>
            </p:cNvSpPr>
            <p:nvPr userDrawn="1"/>
          </p:nvSpPr>
          <p:spPr bwMode="gray">
            <a:xfrm>
              <a:off x="-51869975" y="4926013"/>
              <a:ext cx="2547938" cy="15319375"/>
            </a:xfrm>
            <a:prstGeom prst="rect">
              <a:avLst/>
            </a:prstGeom>
            <a:solidFill>
              <a:srgbClr val="0000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4" name="Freeform 10"/>
            <p:cNvSpPr>
              <a:spLocks/>
            </p:cNvSpPr>
            <p:nvPr userDrawn="1"/>
          </p:nvSpPr>
          <p:spPr bwMode="gray">
            <a:xfrm>
              <a:off x="-59501088" y="13439775"/>
              <a:ext cx="3679825" cy="6805612"/>
            </a:xfrm>
            <a:custGeom>
              <a:avLst/>
              <a:gdLst>
                <a:gd name="T0" fmla="*/ 1606 w 2318"/>
                <a:gd name="T1" fmla="*/ 4287 h 4287"/>
                <a:gd name="T2" fmla="*/ 2318 w 2318"/>
                <a:gd name="T3" fmla="*/ 0 h 4287"/>
                <a:gd name="T4" fmla="*/ 712 w 2318"/>
                <a:gd name="T5" fmla="*/ 0 h 4287"/>
                <a:gd name="T6" fmla="*/ 0 w 2318"/>
                <a:gd name="T7" fmla="*/ 4287 h 4287"/>
                <a:gd name="T8" fmla="*/ 1606 w 2318"/>
                <a:gd name="T9" fmla="*/ 4287 h 4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8" h="4287">
                  <a:moveTo>
                    <a:pt x="1606" y="4287"/>
                  </a:moveTo>
                  <a:lnTo>
                    <a:pt x="2318" y="0"/>
                  </a:lnTo>
                  <a:lnTo>
                    <a:pt x="712" y="0"/>
                  </a:lnTo>
                  <a:lnTo>
                    <a:pt x="0" y="4287"/>
                  </a:lnTo>
                  <a:lnTo>
                    <a:pt x="1606" y="4287"/>
                  </a:lnTo>
                  <a:close/>
                </a:path>
              </a:pathLst>
            </a:custGeom>
            <a:solidFill>
              <a:srgbClr val="0000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5" name="Freeform 11"/>
            <p:cNvSpPr>
              <a:spLocks noEditPoints="1"/>
            </p:cNvSpPr>
            <p:nvPr userDrawn="1"/>
          </p:nvSpPr>
          <p:spPr bwMode="gray">
            <a:xfrm>
              <a:off x="-64593788" y="25911175"/>
              <a:ext cx="3689350" cy="4178300"/>
            </a:xfrm>
            <a:custGeom>
              <a:avLst/>
              <a:gdLst>
                <a:gd name="T0" fmla="*/ 2324 w 2324"/>
                <a:gd name="T1" fmla="*/ 2632 h 2632"/>
                <a:gd name="T2" fmla="*/ 1989 w 2324"/>
                <a:gd name="T3" fmla="*/ 2632 h 2632"/>
                <a:gd name="T4" fmla="*/ 1741 w 2324"/>
                <a:gd name="T5" fmla="*/ 1955 h 2632"/>
                <a:gd name="T6" fmla="*/ 556 w 2324"/>
                <a:gd name="T7" fmla="*/ 1955 h 2632"/>
                <a:gd name="T8" fmla="*/ 309 w 2324"/>
                <a:gd name="T9" fmla="*/ 2632 h 2632"/>
                <a:gd name="T10" fmla="*/ 0 w 2324"/>
                <a:gd name="T11" fmla="*/ 2632 h 2632"/>
                <a:gd name="T12" fmla="*/ 974 w 2324"/>
                <a:gd name="T13" fmla="*/ 0 h 2632"/>
                <a:gd name="T14" fmla="*/ 1354 w 2324"/>
                <a:gd name="T15" fmla="*/ 0 h 2632"/>
                <a:gd name="T16" fmla="*/ 2324 w 2324"/>
                <a:gd name="T17" fmla="*/ 2632 h 2632"/>
                <a:gd name="T18" fmla="*/ 639 w 2324"/>
                <a:gd name="T19" fmla="*/ 1684 h 2632"/>
                <a:gd name="T20" fmla="*/ 1654 w 2324"/>
                <a:gd name="T21" fmla="*/ 1684 h 2632"/>
                <a:gd name="T22" fmla="*/ 1147 w 2324"/>
                <a:gd name="T23" fmla="*/ 331 h 2632"/>
                <a:gd name="T24" fmla="*/ 639 w 2324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2632">
                  <a:moveTo>
                    <a:pt x="2324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9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4" y="0"/>
                  </a:lnTo>
                  <a:lnTo>
                    <a:pt x="2324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6" name="Freeform 12"/>
            <p:cNvSpPr>
              <a:spLocks noEditPoints="1"/>
            </p:cNvSpPr>
            <p:nvPr userDrawn="1"/>
          </p:nvSpPr>
          <p:spPr bwMode="gray">
            <a:xfrm>
              <a:off x="-58231088" y="25911175"/>
              <a:ext cx="2908300" cy="4178300"/>
            </a:xfrm>
            <a:custGeom>
              <a:avLst/>
              <a:gdLst>
                <a:gd name="T0" fmla="*/ 0 w 1696"/>
                <a:gd name="T1" fmla="*/ 0 h 2438"/>
                <a:gd name="T2" fmla="*/ 916 w 1696"/>
                <a:gd name="T3" fmla="*/ 0 h 2438"/>
                <a:gd name="T4" fmla="*/ 1696 w 1696"/>
                <a:gd name="T5" fmla="*/ 756 h 2438"/>
                <a:gd name="T6" fmla="*/ 916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9 w 1696"/>
                <a:gd name="T19" fmla="*/ 1264 h 2438"/>
                <a:gd name="T20" fmla="*/ 1400 w 1696"/>
                <a:gd name="T21" fmla="*/ 756 h 2438"/>
                <a:gd name="T22" fmla="*/ 909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6" y="0"/>
                    <a:pt x="916" y="0"/>
                    <a:pt x="916" y="0"/>
                  </a:cubicBezTo>
                  <a:cubicBezTo>
                    <a:pt x="1390" y="0"/>
                    <a:pt x="1696" y="234"/>
                    <a:pt x="1696" y="756"/>
                  </a:cubicBezTo>
                  <a:cubicBezTo>
                    <a:pt x="1696" y="1282"/>
                    <a:pt x="1390" y="1515"/>
                    <a:pt x="91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9" y="1264"/>
                    <a:pt x="909" y="1264"/>
                    <a:pt x="909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9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7" name="Freeform 13"/>
            <p:cNvSpPr>
              <a:spLocks noEditPoints="1"/>
            </p:cNvSpPr>
            <p:nvPr userDrawn="1"/>
          </p:nvSpPr>
          <p:spPr bwMode="gray">
            <a:xfrm>
              <a:off x="-54684613" y="25850850"/>
              <a:ext cx="3235325" cy="4297362"/>
            </a:xfrm>
            <a:custGeom>
              <a:avLst/>
              <a:gdLst>
                <a:gd name="T0" fmla="*/ 1888 w 1888"/>
                <a:gd name="T1" fmla="*/ 1634 h 2507"/>
                <a:gd name="T2" fmla="*/ 941 w 1888"/>
                <a:gd name="T3" fmla="*/ 2507 h 2507"/>
                <a:gd name="T4" fmla="*/ 0 w 1888"/>
                <a:gd name="T5" fmla="*/ 1634 h 2507"/>
                <a:gd name="T6" fmla="*/ 0 w 1888"/>
                <a:gd name="T7" fmla="*/ 875 h 2507"/>
                <a:gd name="T8" fmla="*/ 948 w 1888"/>
                <a:gd name="T9" fmla="*/ 0 h 2507"/>
                <a:gd name="T10" fmla="*/ 1888 w 1888"/>
                <a:gd name="T11" fmla="*/ 875 h 2507"/>
                <a:gd name="T12" fmla="*/ 1888 w 1888"/>
                <a:gd name="T13" fmla="*/ 1634 h 2507"/>
                <a:gd name="T14" fmla="*/ 1599 w 1888"/>
                <a:gd name="T15" fmla="*/ 875 h 2507"/>
                <a:gd name="T16" fmla="*/ 948 w 1888"/>
                <a:gd name="T17" fmla="*/ 251 h 2507"/>
                <a:gd name="T18" fmla="*/ 289 w 1888"/>
                <a:gd name="T19" fmla="*/ 875 h 2507"/>
                <a:gd name="T20" fmla="*/ 289 w 1888"/>
                <a:gd name="T21" fmla="*/ 1634 h 2507"/>
                <a:gd name="T22" fmla="*/ 941 w 1888"/>
                <a:gd name="T23" fmla="*/ 2257 h 2507"/>
                <a:gd name="T24" fmla="*/ 1599 w 1888"/>
                <a:gd name="T25" fmla="*/ 1634 h 2507"/>
                <a:gd name="T26" fmla="*/ 1599 w 1888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8" h="2507">
                  <a:moveTo>
                    <a:pt x="1888" y="1634"/>
                  </a:moveTo>
                  <a:cubicBezTo>
                    <a:pt x="1888" y="2194"/>
                    <a:pt x="1529" y="2507"/>
                    <a:pt x="941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8" y="0"/>
                  </a:cubicBezTo>
                  <a:cubicBezTo>
                    <a:pt x="1529" y="0"/>
                    <a:pt x="1888" y="310"/>
                    <a:pt x="1888" y="875"/>
                  </a:cubicBezTo>
                  <a:lnTo>
                    <a:pt x="1888" y="1634"/>
                  </a:lnTo>
                  <a:close/>
                  <a:moveTo>
                    <a:pt x="1599" y="875"/>
                  </a:moveTo>
                  <a:cubicBezTo>
                    <a:pt x="1599" y="478"/>
                    <a:pt x="1355" y="251"/>
                    <a:pt x="948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1" y="2257"/>
                  </a:cubicBezTo>
                  <a:cubicBezTo>
                    <a:pt x="1355" y="2257"/>
                    <a:pt x="1599" y="2031"/>
                    <a:pt x="1599" y="1634"/>
                  </a:cubicBezTo>
                  <a:lnTo>
                    <a:pt x="1599" y="875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8" name="Freeform 14"/>
            <p:cNvSpPr>
              <a:spLocks noEditPoints="1"/>
            </p:cNvSpPr>
            <p:nvPr userDrawn="1"/>
          </p:nvSpPr>
          <p:spPr bwMode="gray">
            <a:xfrm>
              <a:off x="-50457100" y="25911175"/>
              <a:ext cx="3024188" cy="4178300"/>
            </a:xfrm>
            <a:custGeom>
              <a:avLst/>
              <a:gdLst>
                <a:gd name="T0" fmla="*/ 0 w 1765"/>
                <a:gd name="T1" fmla="*/ 0 h 2438"/>
                <a:gd name="T2" fmla="*/ 968 w 1765"/>
                <a:gd name="T3" fmla="*/ 0 h 2438"/>
                <a:gd name="T4" fmla="*/ 1747 w 1765"/>
                <a:gd name="T5" fmla="*/ 756 h 2438"/>
                <a:gd name="T6" fmla="*/ 1291 w 1765"/>
                <a:gd name="T7" fmla="*/ 1470 h 2438"/>
                <a:gd name="T8" fmla="*/ 1765 w 1765"/>
                <a:gd name="T9" fmla="*/ 2438 h 2438"/>
                <a:gd name="T10" fmla="*/ 1431 w 1765"/>
                <a:gd name="T11" fmla="*/ 2438 h 2438"/>
                <a:gd name="T12" fmla="*/ 996 w 1765"/>
                <a:gd name="T13" fmla="*/ 1515 h 2438"/>
                <a:gd name="T14" fmla="*/ 289 w 1765"/>
                <a:gd name="T15" fmla="*/ 1515 h 2438"/>
                <a:gd name="T16" fmla="*/ 289 w 1765"/>
                <a:gd name="T17" fmla="*/ 2438 h 2438"/>
                <a:gd name="T18" fmla="*/ 0 w 1765"/>
                <a:gd name="T19" fmla="*/ 2438 h 2438"/>
                <a:gd name="T20" fmla="*/ 0 w 1765"/>
                <a:gd name="T21" fmla="*/ 0 h 2438"/>
                <a:gd name="T22" fmla="*/ 289 w 1765"/>
                <a:gd name="T23" fmla="*/ 1264 h 2438"/>
                <a:gd name="T24" fmla="*/ 960 w 1765"/>
                <a:gd name="T25" fmla="*/ 1264 h 2438"/>
                <a:gd name="T26" fmla="*/ 1451 w 1765"/>
                <a:gd name="T27" fmla="*/ 756 h 2438"/>
                <a:gd name="T28" fmla="*/ 960 w 1765"/>
                <a:gd name="T29" fmla="*/ 251 h 2438"/>
                <a:gd name="T30" fmla="*/ 289 w 1765"/>
                <a:gd name="T31" fmla="*/ 251 h 2438"/>
                <a:gd name="T32" fmla="*/ 289 w 1765"/>
                <a:gd name="T33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5" h="2438">
                  <a:moveTo>
                    <a:pt x="0" y="0"/>
                  </a:moveTo>
                  <a:cubicBezTo>
                    <a:pt x="968" y="0"/>
                    <a:pt x="968" y="0"/>
                    <a:pt x="968" y="0"/>
                  </a:cubicBezTo>
                  <a:cubicBezTo>
                    <a:pt x="1441" y="0"/>
                    <a:pt x="1747" y="234"/>
                    <a:pt x="1747" y="756"/>
                  </a:cubicBezTo>
                  <a:cubicBezTo>
                    <a:pt x="1747" y="1149"/>
                    <a:pt x="1577" y="1379"/>
                    <a:pt x="1291" y="1470"/>
                  </a:cubicBezTo>
                  <a:cubicBezTo>
                    <a:pt x="1765" y="2438"/>
                    <a:pt x="1765" y="2438"/>
                    <a:pt x="1765" y="2438"/>
                  </a:cubicBezTo>
                  <a:cubicBezTo>
                    <a:pt x="1431" y="2438"/>
                    <a:pt x="1431" y="2438"/>
                    <a:pt x="1431" y="2438"/>
                  </a:cubicBezTo>
                  <a:cubicBezTo>
                    <a:pt x="996" y="1515"/>
                    <a:pt x="996" y="1515"/>
                    <a:pt x="996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60" y="1264"/>
                    <a:pt x="960" y="1264"/>
                    <a:pt x="960" y="1264"/>
                  </a:cubicBezTo>
                  <a:cubicBezTo>
                    <a:pt x="1260" y="1264"/>
                    <a:pt x="1451" y="1114"/>
                    <a:pt x="1451" y="756"/>
                  </a:cubicBezTo>
                  <a:cubicBezTo>
                    <a:pt x="1451" y="401"/>
                    <a:pt x="1257" y="251"/>
                    <a:pt x="960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9" name="Freeform 15"/>
            <p:cNvSpPr>
              <a:spLocks/>
            </p:cNvSpPr>
            <p:nvPr userDrawn="1"/>
          </p:nvSpPr>
          <p:spPr bwMode="gray">
            <a:xfrm>
              <a:off x="-46589950" y="25850850"/>
              <a:ext cx="3025775" cy="4297362"/>
            </a:xfrm>
            <a:custGeom>
              <a:avLst/>
              <a:gdLst>
                <a:gd name="T0" fmla="*/ 1090 w 1765"/>
                <a:gd name="T1" fmla="*/ 1421 h 2507"/>
                <a:gd name="T2" fmla="*/ 626 w 1765"/>
                <a:gd name="T3" fmla="*/ 1334 h 2507"/>
                <a:gd name="T4" fmla="*/ 20 w 1765"/>
                <a:gd name="T5" fmla="*/ 687 h 2507"/>
                <a:gd name="T6" fmla="*/ 884 w 1765"/>
                <a:gd name="T7" fmla="*/ 0 h 2507"/>
                <a:gd name="T8" fmla="*/ 1748 w 1765"/>
                <a:gd name="T9" fmla="*/ 735 h 2507"/>
                <a:gd name="T10" fmla="*/ 1748 w 1765"/>
                <a:gd name="T11" fmla="*/ 767 h 2507"/>
                <a:gd name="T12" fmla="*/ 1462 w 1765"/>
                <a:gd name="T13" fmla="*/ 767 h 2507"/>
                <a:gd name="T14" fmla="*/ 1462 w 1765"/>
                <a:gd name="T15" fmla="*/ 735 h 2507"/>
                <a:gd name="T16" fmla="*/ 884 w 1765"/>
                <a:gd name="T17" fmla="*/ 251 h 2507"/>
                <a:gd name="T18" fmla="*/ 317 w 1765"/>
                <a:gd name="T19" fmla="*/ 669 h 2507"/>
                <a:gd name="T20" fmla="*/ 696 w 1765"/>
                <a:gd name="T21" fmla="*/ 1069 h 2507"/>
                <a:gd name="T22" fmla="*/ 1156 w 1765"/>
                <a:gd name="T23" fmla="*/ 1157 h 2507"/>
                <a:gd name="T24" fmla="*/ 1765 w 1765"/>
                <a:gd name="T25" fmla="*/ 1801 h 2507"/>
                <a:gd name="T26" fmla="*/ 881 w 1765"/>
                <a:gd name="T27" fmla="*/ 2507 h 2507"/>
                <a:gd name="T28" fmla="*/ 0 w 1765"/>
                <a:gd name="T29" fmla="*/ 1773 h 2507"/>
                <a:gd name="T30" fmla="*/ 0 w 1765"/>
                <a:gd name="T31" fmla="*/ 1742 h 2507"/>
                <a:gd name="T32" fmla="*/ 289 w 1765"/>
                <a:gd name="T33" fmla="*/ 1742 h 2507"/>
                <a:gd name="T34" fmla="*/ 289 w 1765"/>
                <a:gd name="T35" fmla="*/ 1773 h 2507"/>
                <a:gd name="T36" fmla="*/ 881 w 1765"/>
                <a:gd name="T37" fmla="*/ 2257 h 2507"/>
                <a:gd name="T38" fmla="*/ 1469 w 1765"/>
                <a:gd name="T39" fmla="*/ 1818 h 2507"/>
                <a:gd name="T40" fmla="*/ 1090 w 1765"/>
                <a:gd name="T41" fmla="*/ 1421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5" h="2507">
                  <a:moveTo>
                    <a:pt x="1090" y="1421"/>
                  </a:moveTo>
                  <a:cubicBezTo>
                    <a:pt x="626" y="1334"/>
                    <a:pt x="626" y="1334"/>
                    <a:pt x="626" y="1334"/>
                  </a:cubicBezTo>
                  <a:cubicBezTo>
                    <a:pt x="247" y="1261"/>
                    <a:pt x="20" y="1052"/>
                    <a:pt x="20" y="687"/>
                  </a:cubicBezTo>
                  <a:cubicBezTo>
                    <a:pt x="20" y="237"/>
                    <a:pt x="334" y="0"/>
                    <a:pt x="884" y="0"/>
                  </a:cubicBezTo>
                  <a:cubicBezTo>
                    <a:pt x="1434" y="0"/>
                    <a:pt x="1748" y="244"/>
                    <a:pt x="1748" y="735"/>
                  </a:cubicBezTo>
                  <a:cubicBezTo>
                    <a:pt x="1748" y="767"/>
                    <a:pt x="1748" y="767"/>
                    <a:pt x="1748" y="767"/>
                  </a:cubicBezTo>
                  <a:cubicBezTo>
                    <a:pt x="1462" y="767"/>
                    <a:pt x="1462" y="767"/>
                    <a:pt x="1462" y="767"/>
                  </a:cubicBezTo>
                  <a:cubicBezTo>
                    <a:pt x="1462" y="735"/>
                    <a:pt x="1462" y="735"/>
                    <a:pt x="1462" y="735"/>
                  </a:cubicBezTo>
                  <a:cubicBezTo>
                    <a:pt x="1462" y="415"/>
                    <a:pt x="1260" y="251"/>
                    <a:pt x="884" y="251"/>
                  </a:cubicBezTo>
                  <a:cubicBezTo>
                    <a:pt x="508" y="251"/>
                    <a:pt x="317" y="394"/>
                    <a:pt x="317" y="669"/>
                  </a:cubicBezTo>
                  <a:cubicBezTo>
                    <a:pt x="317" y="895"/>
                    <a:pt x="463" y="1024"/>
                    <a:pt x="696" y="1069"/>
                  </a:cubicBezTo>
                  <a:cubicBezTo>
                    <a:pt x="1156" y="1157"/>
                    <a:pt x="1156" y="1157"/>
                    <a:pt x="1156" y="1157"/>
                  </a:cubicBezTo>
                  <a:cubicBezTo>
                    <a:pt x="1546" y="1230"/>
                    <a:pt x="1765" y="1435"/>
                    <a:pt x="1765" y="1801"/>
                  </a:cubicBezTo>
                  <a:cubicBezTo>
                    <a:pt x="1765" y="2271"/>
                    <a:pt x="1434" y="2507"/>
                    <a:pt x="881" y="2507"/>
                  </a:cubicBezTo>
                  <a:cubicBezTo>
                    <a:pt x="331" y="2507"/>
                    <a:pt x="0" y="2261"/>
                    <a:pt x="0" y="1773"/>
                  </a:cubicBezTo>
                  <a:cubicBezTo>
                    <a:pt x="0" y="1742"/>
                    <a:pt x="0" y="1742"/>
                    <a:pt x="0" y="1742"/>
                  </a:cubicBezTo>
                  <a:cubicBezTo>
                    <a:pt x="289" y="1742"/>
                    <a:pt x="289" y="1742"/>
                    <a:pt x="289" y="1742"/>
                  </a:cubicBezTo>
                  <a:cubicBezTo>
                    <a:pt x="289" y="1773"/>
                    <a:pt x="289" y="1773"/>
                    <a:pt x="289" y="1773"/>
                  </a:cubicBezTo>
                  <a:cubicBezTo>
                    <a:pt x="289" y="2093"/>
                    <a:pt x="505" y="2257"/>
                    <a:pt x="881" y="2257"/>
                  </a:cubicBezTo>
                  <a:cubicBezTo>
                    <a:pt x="1260" y="2257"/>
                    <a:pt x="1469" y="2114"/>
                    <a:pt x="1469" y="1818"/>
                  </a:cubicBezTo>
                  <a:cubicBezTo>
                    <a:pt x="1469" y="1592"/>
                    <a:pt x="1323" y="1466"/>
                    <a:pt x="1090" y="1421"/>
                  </a:cubicBezTo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0" name="Freeform 16"/>
            <p:cNvSpPr>
              <a:spLocks/>
            </p:cNvSpPr>
            <p:nvPr userDrawn="1"/>
          </p:nvSpPr>
          <p:spPr bwMode="gray">
            <a:xfrm>
              <a:off x="-42698988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7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9 w 1852"/>
                <a:gd name="T23" fmla="*/ 875 h 2507"/>
                <a:gd name="T24" fmla="*/ 289 w 1852"/>
                <a:gd name="T25" fmla="*/ 1634 h 2507"/>
                <a:gd name="T26" fmla="*/ 937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7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2" y="2257"/>
                    <a:pt x="937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1" name="Freeform 17"/>
            <p:cNvSpPr>
              <a:spLocks/>
            </p:cNvSpPr>
            <p:nvPr userDrawn="1"/>
          </p:nvSpPr>
          <p:spPr bwMode="gray">
            <a:xfrm>
              <a:off x="-38561963" y="25911175"/>
              <a:ext cx="3114675" cy="4178300"/>
            </a:xfrm>
            <a:custGeom>
              <a:avLst/>
              <a:gdLst>
                <a:gd name="T0" fmla="*/ 1650 w 1962"/>
                <a:gd name="T1" fmla="*/ 1448 h 2632"/>
                <a:gd name="T2" fmla="*/ 312 w 1962"/>
                <a:gd name="T3" fmla="*/ 1448 h 2632"/>
                <a:gd name="T4" fmla="*/ 312 w 1962"/>
                <a:gd name="T5" fmla="*/ 2632 h 2632"/>
                <a:gd name="T6" fmla="*/ 0 w 1962"/>
                <a:gd name="T7" fmla="*/ 2632 h 2632"/>
                <a:gd name="T8" fmla="*/ 0 w 1962"/>
                <a:gd name="T9" fmla="*/ 0 h 2632"/>
                <a:gd name="T10" fmla="*/ 312 w 1962"/>
                <a:gd name="T11" fmla="*/ 0 h 2632"/>
                <a:gd name="T12" fmla="*/ 312 w 1962"/>
                <a:gd name="T13" fmla="*/ 1177 h 2632"/>
                <a:gd name="T14" fmla="*/ 1650 w 1962"/>
                <a:gd name="T15" fmla="*/ 1177 h 2632"/>
                <a:gd name="T16" fmla="*/ 1650 w 1962"/>
                <a:gd name="T17" fmla="*/ 0 h 2632"/>
                <a:gd name="T18" fmla="*/ 1962 w 1962"/>
                <a:gd name="T19" fmla="*/ 0 h 2632"/>
                <a:gd name="T20" fmla="*/ 1962 w 1962"/>
                <a:gd name="T21" fmla="*/ 2632 h 2632"/>
                <a:gd name="T22" fmla="*/ 1650 w 1962"/>
                <a:gd name="T23" fmla="*/ 2632 h 2632"/>
                <a:gd name="T24" fmla="*/ 1650 w 1962"/>
                <a:gd name="T25" fmla="*/ 144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62" h="2632">
                  <a:moveTo>
                    <a:pt x="1650" y="1448"/>
                  </a:moveTo>
                  <a:lnTo>
                    <a:pt x="312" y="1448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12" y="0"/>
                  </a:lnTo>
                  <a:lnTo>
                    <a:pt x="312" y="1177"/>
                  </a:lnTo>
                  <a:lnTo>
                    <a:pt x="1650" y="1177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50" y="2632"/>
                  </a:lnTo>
                  <a:lnTo>
                    <a:pt x="1650" y="144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2" name="Freeform 18"/>
            <p:cNvSpPr>
              <a:spLocks/>
            </p:cNvSpPr>
            <p:nvPr userDrawn="1"/>
          </p:nvSpPr>
          <p:spPr bwMode="gray">
            <a:xfrm>
              <a:off x="-34396363" y="25911175"/>
              <a:ext cx="2697163" cy="4178300"/>
            </a:xfrm>
            <a:custGeom>
              <a:avLst/>
              <a:gdLst>
                <a:gd name="T0" fmla="*/ 0 w 1699"/>
                <a:gd name="T1" fmla="*/ 0 h 2632"/>
                <a:gd name="T2" fmla="*/ 1699 w 1699"/>
                <a:gd name="T3" fmla="*/ 0 h 2632"/>
                <a:gd name="T4" fmla="*/ 1699 w 1699"/>
                <a:gd name="T5" fmla="*/ 271 h 2632"/>
                <a:gd name="T6" fmla="*/ 312 w 1699"/>
                <a:gd name="T7" fmla="*/ 271 h 2632"/>
                <a:gd name="T8" fmla="*/ 312 w 1699"/>
                <a:gd name="T9" fmla="*/ 1177 h 2632"/>
                <a:gd name="T10" fmla="*/ 1511 w 1699"/>
                <a:gd name="T11" fmla="*/ 1177 h 2632"/>
                <a:gd name="T12" fmla="*/ 1511 w 1699"/>
                <a:gd name="T13" fmla="*/ 1448 h 2632"/>
                <a:gd name="T14" fmla="*/ 312 w 1699"/>
                <a:gd name="T15" fmla="*/ 1448 h 2632"/>
                <a:gd name="T16" fmla="*/ 312 w 1699"/>
                <a:gd name="T17" fmla="*/ 2361 h 2632"/>
                <a:gd name="T18" fmla="*/ 1699 w 1699"/>
                <a:gd name="T19" fmla="*/ 2361 h 2632"/>
                <a:gd name="T20" fmla="*/ 1699 w 1699"/>
                <a:gd name="T21" fmla="*/ 2632 h 2632"/>
                <a:gd name="T22" fmla="*/ 0 w 1699"/>
                <a:gd name="T23" fmla="*/ 2632 h 2632"/>
                <a:gd name="T24" fmla="*/ 0 w 1699"/>
                <a:gd name="T25" fmla="*/ 0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9" h="2632">
                  <a:moveTo>
                    <a:pt x="0" y="0"/>
                  </a:moveTo>
                  <a:lnTo>
                    <a:pt x="1699" y="0"/>
                  </a:lnTo>
                  <a:lnTo>
                    <a:pt x="1699" y="271"/>
                  </a:lnTo>
                  <a:lnTo>
                    <a:pt x="312" y="271"/>
                  </a:lnTo>
                  <a:lnTo>
                    <a:pt x="312" y="1177"/>
                  </a:lnTo>
                  <a:lnTo>
                    <a:pt x="1511" y="1177"/>
                  </a:lnTo>
                  <a:lnTo>
                    <a:pt x="1511" y="1448"/>
                  </a:lnTo>
                  <a:lnTo>
                    <a:pt x="312" y="1448"/>
                  </a:lnTo>
                  <a:lnTo>
                    <a:pt x="312" y="2361"/>
                  </a:lnTo>
                  <a:lnTo>
                    <a:pt x="1699" y="2361"/>
                  </a:lnTo>
                  <a:lnTo>
                    <a:pt x="1699" y="2632"/>
                  </a:lnTo>
                  <a:lnTo>
                    <a:pt x="0" y="26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3" name="Freeform 19"/>
            <p:cNvSpPr>
              <a:spLocks/>
            </p:cNvSpPr>
            <p:nvPr userDrawn="1"/>
          </p:nvSpPr>
          <p:spPr bwMode="gray">
            <a:xfrm>
              <a:off x="-28759150" y="25850850"/>
              <a:ext cx="3175000" cy="4297362"/>
            </a:xfrm>
            <a:custGeom>
              <a:avLst/>
              <a:gdLst>
                <a:gd name="T0" fmla="*/ 1852 w 1852"/>
                <a:gd name="T1" fmla="*/ 1689 h 2507"/>
                <a:gd name="T2" fmla="*/ 1852 w 1852"/>
                <a:gd name="T3" fmla="*/ 1700 h 2507"/>
                <a:gd name="T4" fmla="*/ 936 w 1852"/>
                <a:gd name="T5" fmla="*/ 2507 h 2507"/>
                <a:gd name="T6" fmla="*/ 0 w 1852"/>
                <a:gd name="T7" fmla="*/ 1634 h 2507"/>
                <a:gd name="T8" fmla="*/ 0 w 1852"/>
                <a:gd name="T9" fmla="*/ 875 h 2507"/>
                <a:gd name="T10" fmla="*/ 940 w 1852"/>
                <a:gd name="T11" fmla="*/ 0 h 2507"/>
                <a:gd name="T12" fmla="*/ 1852 w 1852"/>
                <a:gd name="T13" fmla="*/ 805 h 2507"/>
                <a:gd name="T14" fmla="*/ 1852 w 1852"/>
                <a:gd name="T15" fmla="*/ 819 h 2507"/>
                <a:gd name="T16" fmla="*/ 1563 w 1852"/>
                <a:gd name="T17" fmla="*/ 819 h 2507"/>
                <a:gd name="T18" fmla="*/ 1563 w 1852"/>
                <a:gd name="T19" fmla="*/ 805 h 2507"/>
                <a:gd name="T20" fmla="*/ 940 w 1852"/>
                <a:gd name="T21" fmla="*/ 251 h 2507"/>
                <a:gd name="T22" fmla="*/ 288 w 1852"/>
                <a:gd name="T23" fmla="*/ 875 h 2507"/>
                <a:gd name="T24" fmla="*/ 288 w 1852"/>
                <a:gd name="T25" fmla="*/ 1634 h 2507"/>
                <a:gd name="T26" fmla="*/ 936 w 1852"/>
                <a:gd name="T27" fmla="*/ 2257 h 2507"/>
                <a:gd name="T28" fmla="*/ 1563 w 1852"/>
                <a:gd name="T29" fmla="*/ 1700 h 2507"/>
                <a:gd name="T30" fmla="*/ 1563 w 1852"/>
                <a:gd name="T31" fmla="*/ 1689 h 2507"/>
                <a:gd name="T32" fmla="*/ 1852 w 1852"/>
                <a:gd name="T33" fmla="*/ 16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2" h="2507">
                  <a:moveTo>
                    <a:pt x="1852" y="1689"/>
                  </a:moveTo>
                  <a:cubicBezTo>
                    <a:pt x="1852" y="1700"/>
                    <a:pt x="1852" y="1700"/>
                    <a:pt x="1852" y="1700"/>
                  </a:cubicBezTo>
                  <a:cubicBezTo>
                    <a:pt x="1852" y="2215"/>
                    <a:pt x="1501" y="2507"/>
                    <a:pt x="936" y="2507"/>
                  </a:cubicBezTo>
                  <a:cubicBezTo>
                    <a:pt x="358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8" y="0"/>
                    <a:pt x="940" y="0"/>
                  </a:cubicBezTo>
                  <a:cubicBezTo>
                    <a:pt x="1501" y="0"/>
                    <a:pt x="1852" y="290"/>
                    <a:pt x="1852" y="805"/>
                  </a:cubicBezTo>
                  <a:cubicBezTo>
                    <a:pt x="1852" y="819"/>
                    <a:pt x="1852" y="819"/>
                    <a:pt x="1852" y="819"/>
                  </a:cubicBezTo>
                  <a:cubicBezTo>
                    <a:pt x="1563" y="819"/>
                    <a:pt x="1563" y="819"/>
                    <a:pt x="1563" y="819"/>
                  </a:cubicBezTo>
                  <a:cubicBezTo>
                    <a:pt x="1563" y="805"/>
                    <a:pt x="1563" y="805"/>
                    <a:pt x="1563" y="805"/>
                  </a:cubicBezTo>
                  <a:cubicBezTo>
                    <a:pt x="1563" y="457"/>
                    <a:pt x="1326" y="251"/>
                    <a:pt x="940" y="251"/>
                  </a:cubicBezTo>
                  <a:cubicBezTo>
                    <a:pt x="532" y="251"/>
                    <a:pt x="288" y="478"/>
                    <a:pt x="288" y="875"/>
                  </a:cubicBezTo>
                  <a:cubicBezTo>
                    <a:pt x="288" y="1634"/>
                    <a:pt x="288" y="1634"/>
                    <a:pt x="288" y="1634"/>
                  </a:cubicBezTo>
                  <a:cubicBezTo>
                    <a:pt x="288" y="2031"/>
                    <a:pt x="532" y="2257"/>
                    <a:pt x="936" y="2257"/>
                  </a:cubicBezTo>
                  <a:cubicBezTo>
                    <a:pt x="1326" y="2257"/>
                    <a:pt x="1563" y="2051"/>
                    <a:pt x="1563" y="1700"/>
                  </a:cubicBezTo>
                  <a:cubicBezTo>
                    <a:pt x="1563" y="1689"/>
                    <a:pt x="1563" y="1689"/>
                    <a:pt x="1563" y="1689"/>
                  </a:cubicBezTo>
                  <a:lnTo>
                    <a:pt x="1852" y="1689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4" name="Freeform 20"/>
            <p:cNvSpPr>
              <a:spLocks noEditPoints="1"/>
            </p:cNvSpPr>
            <p:nvPr userDrawn="1"/>
          </p:nvSpPr>
          <p:spPr bwMode="gray">
            <a:xfrm>
              <a:off x="-24807863" y="25850850"/>
              <a:ext cx="3235325" cy="4297362"/>
            </a:xfrm>
            <a:custGeom>
              <a:avLst/>
              <a:gdLst>
                <a:gd name="T0" fmla="*/ 1887 w 1887"/>
                <a:gd name="T1" fmla="*/ 1634 h 2507"/>
                <a:gd name="T2" fmla="*/ 940 w 1887"/>
                <a:gd name="T3" fmla="*/ 2507 h 2507"/>
                <a:gd name="T4" fmla="*/ 0 w 1887"/>
                <a:gd name="T5" fmla="*/ 1634 h 2507"/>
                <a:gd name="T6" fmla="*/ 0 w 1887"/>
                <a:gd name="T7" fmla="*/ 875 h 2507"/>
                <a:gd name="T8" fmla="*/ 947 w 1887"/>
                <a:gd name="T9" fmla="*/ 0 h 2507"/>
                <a:gd name="T10" fmla="*/ 1887 w 1887"/>
                <a:gd name="T11" fmla="*/ 875 h 2507"/>
                <a:gd name="T12" fmla="*/ 1887 w 1887"/>
                <a:gd name="T13" fmla="*/ 1634 h 2507"/>
                <a:gd name="T14" fmla="*/ 1598 w 1887"/>
                <a:gd name="T15" fmla="*/ 875 h 2507"/>
                <a:gd name="T16" fmla="*/ 947 w 1887"/>
                <a:gd name="T17" fmla="*/ 251 h 2507"/>
                <a:gd name="T18" fmla="*/ 289 w 1887"/>
                <a:gd name="T19" fmla="*/ 875 h 2507"/>
                <a:gd name="T20" fmla="*/ 289 w 1887"/>
                <a:gd name="T21" fmla="*/ 1634 h 2507"/>
                <a:gd name="T22" fmla="*/ 940 w 1887"/>
                <a:gd name="T23" fmla="*/ 2257 h 2507"/>
                <a:gd name="T24" fmla="*/ 1598 w 1887"/>
                <a:gd name="T25" fmla="*/ 1634 h 2507"/>
                <a:gd name="T26" fmla="*/ 1598 w 1887"/>
                <a:gd name="T27" fmla="*/ 875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87" h="2507">
                  <a:moveTo>
                    <a:pt x="1887" y="1634"/>
                  </a:moveTo>
                  <a:cubicBezTo>
                    <a:pt x="1887" y="2194"/>
                    <a:pt x="1529" y="2507"/>
                    <a:pt x="940" y="2507"/>
                  </a:cubicBezTo>
                  <a:cubicBezTo>
                    <a:pt x="359" y="2507"/>
                    <a:pt x="0" y="2194"/>
                    <a:pt x="0" y="1634"/>
                  </a:cubicBezTo>
                  <a:cubicBezTo>
                    <a:pt x="0" y="875"/>
                    <a:pt x="0" y="875"/>
                    <a:pt x="0" y="875"/>
                  </a:cubicBezTo>
                  <a:cubicBezTo>
                    <a:pt x="0" y="310"/>
                    <a:pt x="359" y="0"/>
                    <a:pt x="947" y="0"/>
                  </a:cubicBezTo>
                  <a:cubicBezTo>
                    <a:pt x="1529" y="0"/>
                    <a:pt x="1887" y="310"/>
                    <a:pt x="1887" y="875"/>
                  </a:cubicBezTo>
                  <a:lnTo>
                    <a:pt x="1887" y="1634"/>
                  </a:lnTo>
                  <a:close/>
                  <a:moveTo>
                    <a:pt x="1598" y="875"/>
                  </a:moveTo>
                  <a:cubicBezTo>
                    <a:pt x="1598" y="478"/>
                    <a:pt x="1355" y="251"/>
                    <a:pt x="947" y="251"/>
                  </a:cubicBezTo>
                  <a:cubicBezTo>
                    <a:pt x="533" y="251"/>
                    <a:pt x="289" y="478"/>
                    <a:pt x="289" y="875"/>
                  </a:cubicBezTo>
                  <a:cubicBezTo>
                    <a:pt x="289" y="1634"/>
                    <a:pt x="289" y="1634"/>
                    <a:pt x="289" y="1634"/>
                  </a:cubicBezTo>
                  <a:cubicBezTo>
                    <a:pt x="289" y="2031"/>
                    <a:pt x="533" y="2257"/>
                    <a:pt x="940" y="2257"/>
                  </a:cubicBezTo>
                  <a:cubicBezTo>
                    <a:pt x="1355" y="2257"/>
                    <a:pt x="1598" y="2031"/>
                    <a:pt x="1598" y="1634"/>
                  </a:cubicBezTo>
                  <a:lnTo>
                    <a:pt x="1598" y="875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5" name="Freeform 21"/>
            <p:cNvSpPr>
              <a:spLocks/>
            </p:cNvSpPr>
            <p:nvPr userDrawn="1"/>
          </p:nvSpPr>
          <p:spPr bwMode="gray">
            <a:xfrm>
              <a:off x="-20581938" y="25911175"/>
              <a:ext cx="3594100" cy="4178300"/>
            </a:xfrm>
            <a:custGeom>
              <a:avLst/>
              <a:gdLst>
                <a:gd name="T0" fmla="*/ 1956 w 2264"/>
                <a:gd name="T1" fmla="*/ 613 h 2632"/>
                <a:gd name="T2" fmla="*/ 1132 w 2264"/>
                <a:gd name="T3" fmla="*/ 2151 h 2632"/>
                <a:gd name="T4" fmla="*/ 312 w 2264"/>
                <a:gd name="T5" fmla="*/ 613 h 2632"/>
                <a:gd name="T6" fmla="*/ 312 w 2264"/>
                <a:gd name="T7" fmla="*/ 2632 h 2632"/>
                <a:gd name="T8" fmla="*/ 0 w 2264"/>
                <a:gd name="T9" fmla="*/ 2632 h 2632"/>
                <a:gd name="T10" fmla="*/ 0 w 2264"/>
                <a:gd name="T11" fmla="*/ 0 h 2632"/>
                <a:gd name="T12" fmla="*/ 302 w 2264"/>
                <a:gd name="T13" fmla="*/ 0 h 2632"/>
                <a:gd name="T14" fmla="*/ 1132 w 2264"/>
                <a:gd name="T15" fmla="*/ 1557 h 2632"/>
                <a:gd name="T16" fmla="*/ 1963 w 2264"/>
                <a:gd name="T17" fmla="*/ 0 h 2632"/>
                <a:gd name="T18" fmla="*/ 2264 w 2264"/>
                <a:gd name="T19" fmla="*/ 0 h 2632"/>
                <a:gd name="T20" fmla="*/ 2264 w 2264"/>
                <a:gd name="T21" fmla="*/ 2632 h 2632"/>
                <a:gd name="T22" fmla="*/ 1956 w 2264"/>
                <a:gd name="T23" fmla="*/ 2632 h 2632"/>
                <a:gd name="T24" fmla="*/ 1956 w 2264"/>
                <a:gd name="T25" fmla="*/ 613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4" h="2632">
                  <a:moveTo>
                    <a:pt x="1956" y="613"/>
                  </a:moveTo>
                  <a:lnTo>
                    <a:pt x="1132" y="2151"/>
                  </a:lnTo>
                  <a:lnTo>
                    <a:pt x="312" y="613"/>
                  </a:ln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302" y="0"/>
                  </a:lnTo>
                  <a:lnTo>
                    <a:pt x="1132" y="1557"/>
                  </a:lnTo>
                  <a:lnTo>
                    <a:pt x="1963" y="0"/>
                  </a:lnTo>
                  <a:lnTo>
                    <a:pt x="2264" y="0"/>
                  </a:lnTo>
                  <a:lnTo>
                    <a:pt x="2264" y="2632"/>
                  </a:lnTo>
                  <a:lnTo>
                    <a:pt x="1956" y="2632"/>
                  </a:lnTo>
                  <a:lnTo>
                    <a:pt x="1956" y="613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6" name="Freeform 22"/>
            <p:cNvSpPr>
              <a:spLocks noEditPoints="1"/>
            </p:cNvSpPr>
            <p:nvPr userDrawn="1"/>
          </p:nvSpPr>
          <p:spPr bwMode="gray">
            <a:xfrm>
              <a:off x="-15936913" y="25911175"/>
              <a:ext cx="2906713" cy="4178300"/>
            </a:xfrm>
            <a:custGeom>
              <a:avLst/>
              <a:gdLst>
                <a:gd name="T0" fmla="*/ 0 w 1696"/>
                <a:gd name="T1" fmla="*/ 0 h 2438"/>
                <a:gd name="T2" fmla="*/ 915 w 1696"/>
                <a:gd name="T3" fmla="*/ 0 h 2438"/>
                <a:gd name="T4" fmla="*/ 1696 w 1696"/>
                <a:gd name="T5" fmla="*/ 756 h 2438"/>
                <a:gd name="T6" fmla="*/ 915 w 1696"/>
                <a:gd name="T7" fmla="*/ 1515 h 2438"/>
                <a:gd name="T8" fmla="*/ 289 w 1696"/>
                <a:gd name="T9" fmla="*/ 1515 h 2438"/>
                <a:gd name="T10" fmla="*/ 289 w 1696"/>
                <a:gd name="T11" fmla="*/ 2438 h 2438"/>
                <a:gd name="T12" fmla="*/ 0 w 1696"/>
                <a:gd name="T13" fmla="*/ 2438 h 2438"/>
                <a:gd name="T14" fmla="*/ 0 w 1696"/>
                <a:gd name="T15" fmla="*/ 0 h 2438"/>
                <a:gd name="T16" fmla="*/ 289 w 1696"/>
                <a:gd name="T17" fmla="*/ 1264 h 2438"/>
                <a:gd name="T18" fmla="*/ 908 w 1696"/>
                <a:gd name="T19" fmla="*/ 1264 h 2438"/>
                <a:gd name="T20" fmla="*/ 1400 w 1696"/>
                <a:gd name="T21" fmla="*/ 756 h 2438"/>
                <a:gd name="T22" fmla="*/ 908 w 1696"/>
                <a:gd name="T23" fmla="*/ 251 h 2438"/>
                <a:gd name="T24" fmla="*/ 289 w 1696"/>
                <a:gd name="T25" fmla="*/ 251 h 2438"/>
                <a:gd name="T26" fmla="*/ 289 w 1696"/>
                <a:gd name="T27" fmla="*/ 1264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6" h="2438">
                  <a:moveTo>
                    <a:pt x="0" y="0"/>
                  </a:moveTo>
                  <a:cubicBezTo>
                    <a:pt x="915" y="0"/>
                    <a:pt x="915" y="0"/>
                    <a:pt x="915" y="0"/>
                  </a:cubicBezTo>
                  <a:cubicBezTo>
                    <a:pt x="1389" y="0"/>
                    <a:pt x="1696" y="234"/>
                    <a:pt x="1696" y="756"/>
                  </a:cubicBezTo>
                  <a:cubicBezTo>
                    <a:pt x="1696" y="1282"/>
                    <a:pt x="1389" y="1515"/>
                    <a:pt x="915" y="1515"/>
                  </a:cubicBezTo>
                  <a:cubicBezTo>
                    <a:pt x="289" y="1515"/>
                    <a:pt x="289" y="1515"/>
                    <a:pt x="289" y="1515"/>
                  </a:cubicBezTo>
                  <a:cubicBezTo>
                    <a:pt x="289" y="2438"/>
                    <a:pt x="289" y="2438"/>
                    <a:pt x="289" y="2438"/>
                  </a:cubicBezTo>
                  <a:cubicBezTo>
                    <a:pt x="0" y="2438"/>
                    <a:pt x="0" y="2438"/>
                    <a:pt x="0" y="2438"/>
                  </a:cubicBezTo>
                  <a:lnTo>
                    <a:pt x="0" y="0"/>
                  </a:lnTo>
                  <a:close/>
                  <a:moveTo>
                    <a:pt x="289" y="1264"/>
                  </a:moveTo>
                  <a:cubicBezTo>
                    <a:pt x="908" y="1264"/>
                    <a:pt x="908" y="1264"/>
                    <a:pt x="908" y="1264"/>
                  </a:cubicBezTo>
                  <a:cubicBezTo>
                    <a:pt x="1208" y="1264"/>
                    <a:pt x="1400" y="1114"/>
                    <a:pt x="1400" y="756"/>
                  </a:cubicBezTo>
                  <a:cubicBezTo>
                    <a:pt x="1400" y="401"/>
                    <a:pt x="1205" y="251"/>
                    <a:pt x="908" y="251"/>
                  </a:cubicBezTo>
                  <a:cubicBezTo>
                    <a:pt x="289" y="251"/>
                    <a:pt x="289" y="251"/>
                    <a:pt x="289" y="251"/>
                  </a:cubicBezTo>
                  <a:lnTo>
                    <a:pt x="289" y="126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7" name="Freeform 23"/>
            <p:cNvSpPr>
              <a:spLocks noEditPoints="1"/>
            </p:cNvSpPr>
            <p:nvPr userDrawn="1"/>
          </p:nvSpPr>
          <p:spPr bwMode="gray">
            <a:xfrm>
              <a:off x="-13077825" y="25911175"/>
              <a:ext cx="3687763" cy="4178300"/>
            </a:xfrm>
            <a:custGeom>
              <a:avLst/>
              <a:gdLst>
                <a:gd name="T0" fmla="*/ 2323 w 2323"/>
                <a:gd name="T1" fmla="*/ 2632 h 2632"/>
                <a:gd name="T2" fmla="*/ 1989 w 2323"/>
                <a:gd name="T3" fmla="*/ 2632 h 2632"/>
                <a:gd name="T4" fmla="*/ 1741 w 2323"/>
                <a:gd name="T5" fmla="*/ 1955 h 2632"/>
                <a:gd name="T6" fmla="*/ 556 w 2323"/>
                <a:gd name="T7" fmla="*/ 1955 h 2632"/>
                <a:gd name="T8" fmla="*/ 308 w 2323"/>
                <a:gd name="T9" fmla="*/ 2632 h 2632"/>
                <a:gd name="T10" fmla="*/ 0 w 2323"/>
                <a:gd name="T11" fmla="*/ 2632 h 2632"/>
                <a:gd name="T12" fmla="*/ 974 w 2323"/>
                <a:gd name="T13" fmla="*/ 0 h 2632"/>
                <a:gd name="T14" fmla="*/ 1353 w 2323"/>
                <a:gd name="T15" fmla="*/ 0 h 2632"/>
                <a:gd name="T16" fmla="*/ 2323 w 2323"/>
                <a:gd name="T17" fmla="*/ 2632 h 2632"/>
                <a:gd name="T18" fmla="*/ 639 w 2323"/>
                <a:gd name="T19" fmla="*/ 1684 h 2632"/>
                <a:gd name="T20" fmla="*/ 1654 w 2323"/>
                <a:gd name="T21" fmla="*/ 1684 h 2632"/>
                <a:gd name="T22" fmla="*/ 1147 w 2323"/>
                <a:gd name="T23" fmla="*/ 331 h 2632"/>
                <a:gd name="T24" fmla="*/ 639 w 2323"/>
                <a:gd name="T25" fmla="*/ 1684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3" h="2632">
                  <a:moveTo>
                    <a:pt x="2323" y="2632"/>
                  </a:moveTo>
                  <a:lnTo>
                    <a:pt x="1989" y="2632"/>
                  </a:lnTo>
                  <a:lnTo>
                    <a:pt x="1741" y="1955"/>
                  </a:lnTo>
                  <a:lnTo>
                    <a:pt x="556" y="1955"/>
                  </a:lnTo>
                  <a:lnTo>
                    <a:pt x="308" y="2632"/>
                  </a:lnTo>
                  <a:lnTo>
                    <a:pt x="0" y="2632"/>
                  </a:lnTo>
                  <a:lnTo>
                    <a:pt x="974" y="0"/>
                  </a:lnTo>
                  <a:lnTo>
                    <a:pt x="1353" y="0"/>
                  </a:lnTo>
                  <a:lnTo>
                    <a:pt x="2323" y="2632"/>
                  </a:lnTo>
                  <a:close/>
                  <a:moveTo>
                    <a:pt x="639" y="1684"/>
                  </a:moveTo>
                  <a:lnTo>
                    <a:pt x="1654" y="1684"/>
                  </a:lnTo>
                  <a:lnTo>
                    <a:pt x="1147" y="331"/>
                  </a:lnTo>
                  <a:lnTo>
                    <a:pt x="639" y="168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8" name="Freeform 24"/>
            <p:cNvSpPr>
              <a:spLocks/>
            </p:cNvSpPr>
            <p:nvPr userDrawn="1"/>
          </p:nvSpPr>
          <p:spPr bwMode="gray">
            <a:xfrm>
              <a:off x="-8726488" y="25911175"/>
              <a:ext cx="3114675" cy="4178300"/>
            </a:xfrm>
            <a:custGeom>
              <a:avLst/>
              <a:gdLst>
                <a:gd name="T0" fmla="*/ 312 w 1962"/>
                <a:gd name="T1" fmla="*/ 568 h 2632"/>
                <a:gd name="T2" fmla="*/ 312 w 1962"/>
                <a:gd name="T3" fmla="*/ 2632 h 2632"/>
                <a:gd name="T4" fmla="*/ 0 w 1962"/>
                <a:gd name="T5" fmla="*/ 2632 h 2632"/>
                <a:gd name="T6" fmla="*/ 0 w 1962"/>
                <a:gd name="T7" fmla="*/ 0 h 2632"/>
                <a:gd name="T8" fmla="*/ 292 w 1962"/>
                <a:gd name="T9" fmla="*/ 0 h 2632"/>
                <a:gd name="T10" fmla="*/ 1650 w 1962"/>
                <a:gd name="T11" fmla="*/ 2060 h 2632"/>
                <a:gd name="T12" fmla="*/ 1650 w 1962"/>
                <a:gd name="T13" fmla="*/ 0 h 2632"/>
                <a:gd name="T14" fmla="*/ 1962 w 1962"/>
                <a:gd name="T15" fmla="*/ 0 h 2632"/>
                <a:gd name="T16" fmla="*/ 1962 w 1962"/>
                <a:gd name="T17" fmla="*/ 2632 h 2632"/>
                <a:gd name="T18" fmla="*/ 1669 w 1962"/>
                <a:gd name="T19" fmla="*/ 2632 h 2632"/>
                <a:gd name="T20" fmla="*/ 312 w 1962"/>
                <a:gd name="T21" fmla="*/ 568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2" h="2632">
                  <a:moveTo>
                    <a:pt x="312" y="568"/>
                  </a:moveTo>
                  <a:lnTo>
                    <a:pt x="312" y="2632"/>
                  </a:lnTo>
                  <a:lnTo>
                    <a:pt x="0" y="2632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1650" y="2060"/>
                  </a:lnTo>
                  <a:lnTo>
                    <a:pt x="1650" y="0"/>
                  </a:lnTo>
                  <a:lnTo>
                    <a:pt x="1962" y="0"/>
                  </a:lnTo>
                  <a:lnTo>
                    <a:pt x="1962" y="2632"/>
                  </a:lnTo>
                  <a:lnTo>
                    <a:pt x="1669" y="2632"/>
                  </a:lnTo>
                  <a:lnTo>
                    <a:pt x="312" y="56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9" name="Freeform 25"/>
            <p:cNvSpPr>
              <a:spLocks/>
            </p:cNvSpPr>
            <p:nvPr userDrawn="1"/>
          </p:nvSpPr>
          <p:spPr bwMode="gray">
            <a:xfrm>
              <a:off x="-4956175" y="25911175"/>
              <a:ext cx="3600450" cy="4178300"/>
            </a:xfrm>
            <a:custGeom>
              <a:avLst/>
              <a:gdLst>
                <a:gd name="T0" fmla="*/ 1291 w 2268"/>
                <a:gd name="T1" fmla="*/ 2632 h 2632"/>
                <a:gd name="T2" fmla="*/ 982 w 2268"/>
                <a:gd name="T3" fmla="*/ 2632 h 2632"/>
                <a:gd name="T4" fmla="*/ 982 w 2268"/>
                <a:gd name="T5" fmla="*/ 1625 h 2632"/>
                <a:gd name="T6" fmla="*/ 0 w 2268"/>
                <a:gd name="T7" fmla="*/ 0 h 2632"/>
                <a:gd name="T8" fmla="*/ 373 w 2268"/>
                <a:gd name="T9" fmla="*/ 0 h 2632"/>
                <a:gd name="T10" fmla="*/ 1140 w 2268"/>
                <a:gd name="T11" fmla="*/ 1313 h 2632"/>
                <a:gd name="T12" fmla="*/ 1914 w 2268"/>
                <a:gd name="T13" fmla="*/ 0 h 2632"/>
                <a:gd name="T14" fmla="*/ 2268 w 2268"/>
                <a:gd name="T15" fmla="*/ 0 h 2632"/>
                <a:gd name="T16" fmla="*/ 1291 w 2268"/>
                <a:gd name="T17" fmla="*/ 1625 h 2632"/>
                <a:gd name="T18" fmla="*/ 1291 w 2268"/>
                <a:gd name="T19" fmla="*/ 2632 h 2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8" h="2632">
                  <a:moveTo>
                    <a:pt x="1291" y="2632"/>
                  </a:moveTo>
                  <a:lnTo>
                    <a:pt x="982" y="2632"/>
                  </a:lnTo>
                  <a:lnTo>
                    <a:pt x="982" y="1625"/>
                  </a:lnTo>
                  <a:lnTo>
                    <a:pt x="0" y="0"/>
                  </a:lnTo>
                  <a:lnTo>
                    <a:pt x="373" y="0"/>
                  </a:lnTo>
                  <a:lnTo>
                    <a:pt x="1140" y="1313"/>
                  </a:lnTo>
                  <a:lnTo>
                    <a:pt x="1914" y="0"/>
                  </a:lnTo>
                  <a:lnTo>
                    <a:pt x="2268" y="0"/>
                  </a:lnTo>
                  <a:lnTo>
                    <a:pt x="1291" y="1625"/>
                  </a:lnTo>
                  <a:lnTo>
                    <a:pt x="1291" y="2632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40" name="Freeform 26"/>
            <p:cNvSpPr>
              <a:spLocks/>
            </p:cNvSpPr>
            <p:nvPr userDrawn="1"/>
          </p:nvSpPr>
          <p:spPr bwMode="gray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  <a:gd name="T24" fmla="*/ 1642 w 7445"/>
                <a:gd name="T25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  <a:lnTo>
                    <a:pt x="1642" y="5653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41" name="Freeform 27"/>
            <p:cNvSpPr>
              <a:spLocks/>
            </p:cNvSpPr>
            <p:nvPr userDrawn="1"/>
          </p:nvSpPr>
          <p:spPr bwMode="gray">
            <a:xfrm>
              <a:off x="-27190700" y="4924426"/>
              <a:ext cx="11818938" cy="15319375"/>
            </a:xfrm>
            <a:custGeom>
              <a:avLst/>
              <a:gdLst>
                <a:gd name="T0" fmla="*/ 1642 w 7445"/>
                <a:gd name="T1" fmla="*/ 5653 h 9650"/>
                <a:gd name="T2" fmla="*/ 1642 w 7445"/>
                <a:gd name="T3" fmla="*/ 9650 h 9650"/>
                <a:gd name="T4" fmla="*/ 0 w 7445"/>
                <a:gd name="T5" fmla="*/ 9650 h 9650"/>
                <a:gd name="T6" fmla="*/ 0 w 7445"/>
                <a:gd name="T7" fmla="*/ 0 h 9650"/>
                <a:gd name="T8" fmla="*/ 1642 w 7445"/>
                <a:gd name="T9" fmla="*/ 0 h 9650"/>
                <a:gd name="T10" fmla="*/ 1642 w 7445"/>
                <a:gd name="T11" fmla="*/ 4233 h 9650"/>
                <a:gd name="T12" fmla="*/ 5805 w 7445"/>
                <a:gd name="T13" fmla="*/ 4233 h 9650"/>
                <a:gd name="T14" fmla="*/ 5805 w 7445"/>
                <a:gd name="T15" fmla="*/ 0 h 9650"/>
                <a:gd name="T16" fmla="*/ 7445 w 7445"/>
                <a:gd name="T17" fmla="*/ 0 h 9650"/>
                <a:gd name="T18" fmla="*/ 7445 w 7445"/>
                <a:gd name="T19" fmla="*/ 9650 h 9650"/>
                <a:gd name="T20" fmla="*/ 5805 w 7445"/>
                <a:gd name="T21" fmla="*/ 9650 h 9650"/>
                <a:gd name="T22" fmla="*/ 5805 w 7445"/>
                <a:gd name="T23" fmla="*/ 5653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45" h="9650">
                  <a:moveTo>
                    <a:pt x="1642" y="5653"/>
                  </a:moveTo>
                  <a:lnTo>
                    <a:pt x="1642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642" y="0"/>
                  </a:lnTo>
                  <a:lnTo>
                    <a:pt x="1642" y="4233"/>
                  </a:lnTo>
                  <a:lnTo>
                    <a:pt x="5805" y="4233"/>
                  </a:lnTo>
                  <a:lnTo>
                    <a:pt x="5805" y="0"/>
                  </a:lnTo>
                  <a:lnTo>
                    <a:pt x="7445" y="0"/>
                  </a:lnTo>
                  <a:lnTo>
                    <a:pt x="7445" y="9650"/>
                  </a:lnTo>
                  <a:lnTo>
                    <a:pt x="5805" y="9650"/>
                  </a:lnTo>
                  <a:lnTo>
                    <a:pt x="5805" y="5653"/>
                  </a:lnTo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42" name="Freeform 28"/>
            <p:cNvSpPr>
              <a:spLocks noEditPoints="1"/>
            </p:cNvSpPr>
            <p:nvPr userDrawn="1"/>
          </p:nvSpPr>
          <p:spPr bwMode="gray">
            <a:xfrm>
              <a:off x="-12458700" y="4924426"/>
              <a:ext cx="11096625" cy="15319375"/>
            </a:xfrm>
            <a:custGeom>
              <a:avLst/>
              <a:gdLst>
                <a:gd name="T0" fmla="*/ 0 w 6473"/>
                <a:gd name="T1" fmla="*/ 0 h 8936"/>
                <a:gd name="T2" fmla="*/ 3523 w 6473"/>
                <a:gd name="T3" fmla="*/ 0 h 8936"/>
                <a:gd name="T4" fmla="*/ 6473 w 6473"/>
                <a:gd name="T5" fmla="*/ 2633 h 8936"/>
                <a:gd name="T6" fmla="*/ 3523 w 6473"/>
                <a:gd name="T7" fmla="*/ 5239 h 8936"/>
                <a:gd name="T8" fmla="*/ 1519 w 6473"/>
                <a:gd name="T9" fmla="*/ 5239 h 8936"/>
                <a:gd name="T10" fmla="*/ 1519 w 6473"/>
                <a:gd name="T11" fmla="*/ 8936 h 8936"/>
                <a:gd name="T12" fmla="*/ 0 w 6473"/>
                <a:gd name="T13" fmla="*/ 8936 h 8936"/>
                <a:gd name="T14" fmla="*/ 0 w 6473"/>
                <a:gd name="T15" fmla="*/ 0 h 8936"/>
                <a:gd name="T16" fmla="*/ 1519 w 6473"/>
                <a:gd name="T17" fmla="*/ 3924 h 8936"/>
                <a:gd name="T18" fmla="*/ 3472 w 6473"/>
                <a:gd name="T19" fmla="*/ 3924 h 8936"/>
                <a:gd name="T20" fmla="*/ 4915 w 6473"/>
                <a:gd name="T21" fmla="*/ 2633 h 8936"/>
                <a:gd name="T22" fmla="*/ 3472 w 6473"/>
                <a:gd name="T23" fmla="*/ 1341 h 8936"/>
                <a:gd name="T24" fmla="*/ 1519 w 6473"/>
                <a:gd name="T25" fmla="*/ 1338 h 8936"/>
                <a:gd name="T26" fmla="*/ 1519 w 6473"/>
                <a:gd name="T27" fmla="*/ 3924 h 8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73" h="8936">
                  <a:moveTo>
                    <a:pt x="0" y="0"/>
                  </a:moveTo>
                  <a:cubicBezTo>
                    <a:pt x="3523" y="0"/>
                    <a:pt x="3523" y="0"/>
                    <a:pt x="3523" y="0"/>
                  </a:cubicBezTo>
                  <a:cubicBezTo>
                    <a:pt x="5311" y="0"/>
                    <a:pt x="6473" y="702"/>
                    <a:pt x="6473" y="2633"/>
                  </a:cubicBezTo>
                  <a:cubicBezTo>
                    <a:pt x="6473" y="4418"/>
                    <a:pt x="5324" y="5239"/>
                    <a:pt x="3523" y="5239"/>
                  </a:cubicBezTo>
                  <a:cubicBezTo>
                    <a:pt x="1519" y="5239"/>
                    <a:pt x="1519" y="5239"/>
                    <a:pt x="1519" y="5239"/>
                  </a:cubicBezTo>
                  <a:cubicBezTo>
                    <a:pt x="1519" y="8936"/>
                    <a:pt x="1519" y="8936"/>
                    <a:pt x="1519" y="8936"/>
                  </a:cubicBezTo>
                  <a:cubicBezTo>
                    <a:pt x="0" y="8936"/>
                    <a:pt x="0" y="8936"/>
                    <a:pt x="0" y="8936"/>
                  </a:cubicBezTo>
                  <a:lnTo>
                    <a:pt x="0" y="0"/>
                  </a:lnTo>
                  <a:close/>
                  <a:moveTo>
                    <a:pt x="1519" y="3924"/>
                  </a:moveTo>
                  <a:cubicBezTo>
                    <a:pt x="3472" y="3924"/>
                    <a:pt x="3472" y="3924"/>
                    <a:pt x="3472" y="3924"/>
                  </a:cubicBezTo>
                  <a:cubicBezTo>
                    <a:pt x="4513" y="3924"/>
                    <a:pt x="4915" y="3505"/>
                    <a:pt x="4915" y="2633"/>
                  </a:cubicBezTo>
                  <a:cubicBezTo>
                    <a:pt x="4915" y="1688"/>
                    <a:pt x="4495" y="1341"/>
                    <a:pt x="3472" y="1341"/>
                  </a:cubicBezTo>
                  <a:cubicBezTo>
                    <a:pt x="1519" y="1338"/>
                    <a:pt x="1519" y="1338"/>
                    <a:pt x="1519" y="1338"/>
                  </a:cubicBezTo>
                  <a:lnTo>
                    <a:pt x="1519" y="3924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43" name="Freeform 29"/>
            <p:cNvSpPr>
              <a:spLocks/>
            </p:cNvSpPr>
            <p:nvPr userDrawn="1"/>
          </p:nvSpPr>
          <p:spPr bwMode="gray">
            <a:xfrm>
              <a:off x="-43651488" y="4924426"/>
              <a:ext cx="13568363" cy="15319375"/>
            </a:xfrm>
            <a:custGeom>
              <a:avLst/>
              <a:gdLst>
                <a:gd name="T0" fmla="*/ 6906 w 8547"/>
                <a:gd name="T1" fmla="*/ 3038 h 9650"/>
                <a:gd name="T2" fmla="*/ 4274 w 8547"/>
                <a:gd name="T3" fmla="*/ 7232 h 9650"/>
                <a:gd name="T4" fmla="*/ 1640 w 8547"/>
                <a:gd name="T5" fmla="*/ 3038 h 9650"/>
                <a:gd name="T6" fmla="*/ 1640 w 8547"/>
                <a:gd name="T7" fmla="*/ 9650 h 9650"/>
                <a:gd name="T8" fmla="*/ 0 w 8547"/>
                <a:gd name="T9" fmla="*/ 9650 h 9650"/>
                <a:gd name="T10" fmla="*/ 0 w 8547"/>
                <a:gd name="T11" fmla="*/ 0 h 9650"/>
                <a:gd name="T12" fmla="*/ 1510 w 8547"/>
                <a:gd name="T13" fmla="*/ 0 h 9650"/>
                <a:gd name="T14" fmla="*/ 4273 w 8547"/>
                <a:gd name="T15" fmla="*/ 4397 h 9650"/>
                <a:gd name="T16" fmla="*/ 7027 w 8547"/>
                <a:gd name="T17" fmla="*/ 0 h 9650"/>
                <a:gd name="T18" fmla="*/ 8547 w 8547"/>
                <a:gd name="T19" fmla="*/ 0 h 9650"/>
                <a:gd name="T20" fmla="*/ 8547 w 8547"/>
                <a:gd name="T21" fmla="*/ 9650 h 9650"/>
                <a:gd name="T22" fmla="*/ 6906 w 8547"/>
                <a:gd name="T23" fmla="*/ 9650 h 9650"/>
                <a:gd name="T24" fmla="*/ 6906 w 8547"/>
                <a:gd name="T25" fmla="*/ 3038 h 9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47" h="9650">
                  <a:moveTo>
                    <a:pt x="6906" y="3038"/>
                  </a:moveTo>
                  <a:lnTo>
                    <a:pt x="4274" y="7232"/>
                  </a:lnTo>
                  <a:lnTo>
                    <a:pt x="1640" y="3038"/>
                  </a:lnTo>
                  <a:lnTo>
                    <a:pt x="1640" y="9650"/>
                  </a:lnTo>
                  <a:lnTo>
                    <a:pt x="0" y="9650"/>
                  </a:lnTo>
                  <a:lnTo>
                    <a:pt x="0" y="0"/>
                  </a:lnTo>
                  <a:lnTo>
                    <a:pt x="1510" y="0"/>
                  </a:lnTo>
                  <a:lnTo>
                    <a:pt x="4273" y="4397"/>
                  </a:lnTo>
                  <a:lnTo>
                    <a:pt x="7027" y="0"/>
                  </a:lnTo>
                  <a:lnTo>
                    <a:pt x="8547" y="0"/>
                  </a:lnTo>
                  <a:lnTo>
                    <a:pt x="8547" y="9650"/>
                  </a:lnTo>
                  <a:lnTo>
                    <a:pt x="6906" y="9650"/>
                  </a:lnTo>
                  <a:lnTo>
                    <a:pt x="6906" y="3038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62" name="TextBox 61"/>
          <p:cNvSpPr txBox="1"/>
          <p:nvPr userDrawn="1"/>
        </p:nvSpPr>
        <p:spPr bwMode="gray">
          <a:xfrm>
            <a:off x="11353268" y="6597352"/>
            <a:ext cx="72017" cy="2606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ctr" defTabSz="609393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sz="1000" noProof="0" dirty="0">
                <a:solidFill>
                  <a:schemeClr val="tx2"/>
                </a:solidFill>
              </a:rPr>
              <a:t>l</a:t>
            </a:r>
          </a:p>
          <a:p>
            <a:pPr marL="0" indent="0" algn="ctr"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en-US" sz="1000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38435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463" r:id="rId1"/>
    <p:sldLayoutId id="2147493458" r:id="rId2"/>
    <p:sldLayoutId id="2147493481" r:id="rId3"/>
    <p:sldLayoutId id="2147493484" r:id="rId4"/>
    <p:sldLayoutId id="2147493486" r:id="rId5"/>
    <p:sldLayoutId id="2147493485" r:id="rId6"/>
    <p:sldLayoutId id="2147493462" r:id="rId7"/>
    <p:sldLayoutId id="2147493475" r:id="rId8"/>
    <p:sldLayoutId id="2147493476" r:id="rId9"/>
    <p:sldLayoutId id="2147493477" r:id="rId10"/>
    <p:sldLayoutId id="2147493478" r:id="rId11"/>
    <p:sldLayoutId id="2147493487" r:id="rId12"/>
    <p:sldLayoutId id="2147493479" r:id="rId13"/>
    <p:sldLayoutId id="2147493465" r:id="rId14"/>
    <p:sldLayoutId id="2147493488" r:id="rId15"/>
    <p:sldLayoutId id="2147493457" r:id="rId16"/>
    <p:sldLayoutId id="2147493483" r:id="rId17"/>
    <p:sldLayoutId id="2147493464" r:id="rId18"/>
  </p:sldLayoutIdLst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  <p:hf hdr="0"/>
  <p:txStyles>
    <p:titleStyle>
      <a:lvl1pPr algn="l" defTabSz="609393" rtl="0" eaLnBrk="1" latinLnBrk="0" hangingPunct="1">
        <a:lnSpc>
          <a:spcPct val="85000"/>
        </a:lnSpc>
        <a:spcBef>
          <a:spcPct val="0"/>
        </a:spcBef>
        <a:buNone/>
        <a:defRPr sz="2000" kern="1200">
          <a:solidFill>
            <a:schemeClr val="accent1"/>
          </a:solidFill>
          <a:latin typeface="Segoe UI"/>
          <a:ea typeface="+mj-ea"/>
          <a:cs typeface="+mj-cs"/>
        </a:defRPr>
      </a:lvl1pPr>
      <a:lvl2pPr algn="l" eaLnBrk="1" hangingPunct="1">
        <a:lnSpc>
          <a:spcPct val="85000"/>
        </a:lnSpc>
        <a:defRPr sz="2100" b="0">
          <a:solidFill>
            <a:schemeClr val="accent1"/>
          </a:solidFill>
          <a:latin typeface="+mj-lt"/>
        </a:defRPr>
      </a:lvl2pPr>
      <a:lvl3pPr algn="l" eaLnBrk="1" hangingPunct="1">
        <a:lnSpc>
          <a:spcPct val="85000"/>
        </a:lnSpc>
        <a:defRPr sz="2100">
          <a:solidFill>
            <a:schemeClr val="accent1"/>
          </a:solidFill>
          <a:latin typeface="+mj-lt"/>
        </a:defRPr>
      </a:lvl3pPr>
    </p:titleStyle>
    <p:bodyStyle>
      <a:lvl1pPr marL="0" indent="0" algn="l" defTabSz="609393" rtl="0" eaLnBrk="1" latinLnBrk="0" hangingPunct="1">
        <a:lnSpc>
          <a:spcPct val="100000"/>
        </a:lnSpc>
        <a:spcBef>
          <a:spcPts val="267"/>
        </a:spcBef>
        <a:spcAft>
          <a:spcPts val="267"/>
        </a:spcAft>
        <a:buClr>
          <a:schemeClr val="tx2"/>
        </a:buClr>
        <a:buSzPct val="100000"/>
        <a:buFont typeface="Wingdings" charset="2"/>
        <a:buNone/>
        <a:defRPr sz="1400" kern="1200">
          <a:solidFill>
            <a:schemeClr val="tx2"/>
          </a:solidFill>
          <a:latin typeface="+mn-lt"/>
          <a:ea typeface="Segoe UI" pitchFamily="34" charset="0"/>
          <a:cs typeface="Segoe UI" pitchFamily="34" charset="0"/>
        </a:defRPr>
      </a:lvl1pPr>
      <a:lvl2pPr marL="237600" indent="-237600" algn="l" defTabSz="609393" rtl="0" eaLnBrk="1" latinLnBrk="0" hangingPunct="1">
        <a:lnSpc>
          <a:spcPct val="100000"/>
        </a:lnSpc>
        <a:spcBef>
          <a:spcPts val="267"/>
        </a:spcBef>
        <a:spcAft>
          <a:spcPts val="267"/>
        </a:spcAft>
        <a:buClr>
          <a:schemeClr val="accent1"/>
        </a:buClr>
        <a:buSzPct val="100000"/>
        <a:buFont typeface="Wingdings" panose="05000000000000000000" pitchFamily="2" charset="2"/>
        <a:buChar char="§"/>
        <a:defRPr sz="1400" b="0" kern="1200">
          <a:solidFill>
            <a:schemeClr val="tx2"/>
          </a:solidFill>
          <a:latin typeface="+mn-lt"/>
          <a:ea typeface="Segoe UI" pitchFamily="34" charset="0"/>
          <a:cs typeface="Segoe UI" pitchFamily="34" charset="0"/>
        </a:defRPr>
      </a:lvl2pPr>
      <a:lvl3pPr marL="478800" indent="-239102" algn="l" defTabSz="609393" rtl="0" eaLnBrk="1" latinLnBrk="0" hangingPunct="1">
        <a:lnSpc>
          <a:spcPct val="100000"/>
        </a:lnSpc>
        <a:spcBef>
          <a:spcPts val="267"/>
        </a:spcBef>
        <a:spcAft>
          <a:spcPts val="267"/>
        </a:spcAft>
        <a:buClr>
          <a:schemeClr val="accent1"/>
        </a:buClr>
        <a:buFont typeface="Symbol" panose="05050102010706020507" pitchFamily="18" charset="2"/>
        <a:buChar char="-"/>
        <a:defRPr sz="1400" kern="1200">
          <a:solidFill>
            <a:schemeClr val="tx2"/>
          </a:solidFill>
          <a:latin typeface="+mn-lt"/>
          <a:ea typeface="Segoe UI" pitchFamily="34" charset="0"/>
          <a:cs typeface="Segoe UI" pitchFamily="34" charset="0"/>
        </a:defRPr>
      </a:lvl3pPr>
      <a:lvl4pPr marL="720000" indent="-239102" algn="l" defTabSz="609393" rtl="0" eaLnBrk="1" latinLnBrk="0" hangingPunct="1">
        <a:lnSpc>
          <a:spcPct val="100000"/>
        </a:lnSpc>
        <a:spcBef>
          <a:spcPts val="267"/>
        </a:spcBef>
        <a:spcAft>
          <a:spcPts val="267"/>
        </a:spcAft>
        <a:buClr>
          <a:schemeClr val="accent1"/>
        </a:buClr>
        <a:buFont typeface="Symbol" panose="05050102010706020507" pitchFamily="18" charset="2"/>
        <a:buChar char="-"/>
        <a:defRPr sz="1200" kern="1200">
          <a:solidFill>
            <a:schemeClr val="tx2"/>
          </a:solidFill>
          <a:latin typeface="+mn-lt"/>
          <a:ea typeface="Segoe UI" pitchFamily="34" charset="0"/>
          <a:cs typeface="Segoe UI" pitchFamily="34" charset="0"/>
        </a:defRPr>
      </a:lvl4pPr>
      <a:lvl5pPr marL="237600" indent="-237600" algn="l" defTabSz="609393" rtl="0" eaLnBrk="1" latinLnBrk="0" hangingPunct="1">
        <a:lnSpc>
          <a:spcPct val="100000"/>
        </a:lnSpc>
        <a:spcBef>
          <a:spcPts val="267"/>
        </a:spcBef>
        <a:spcAft>
          <a:spcPts val="267"/>
        </a:spcAft>
        <a:buClr>
          <a:schemeClr val="accent1"/>
        </a:buClr>
        <a:buSzPct val="90000"/>
        <a:buFont typeface="+mj-lt"/>
        <a:buAutoNum type="arabicPeriod"/>
        <a:defRPr sz="1400" kern="1200">
          <a:solidFill>
            <a:schemeClr val="tx2"/>
          </a:solidFill>
          <a:latin typeface="+mn-lt"/>
          <a:ea typeface="Segoe UI" pitchFamily="34" charset="0"/>
          <a:cs typeface="Segoe UI" pitchFamily="34" charset="0"/>
        </a:defRPr>
      </a:lvl5pPr>
      <a:lvl6pPr marL="478800" indent="-239102" algn="l" defTabSz="609393" rtl="0" eaLnBrk="1" latinLnBrk="0" hangingPunct="1">
        <a:lnSpc>
          <a:spcPct val="80000"/>
        </a:lnSpc>
        <a:spcBef>
          <a:spcPts val="800"/>
        </a:spcBef>
        <a:spcAft>
          <a:spcPts val="800"/>
        </a:spcAft>
        <a:buClr>
          <a:schemeClr val="accent1"/>
        </a:buClr>
        <a:buSzPct val="100000"/>
        <a:buFont typeface="+mj-lt"/>
        <a:buAutoNum type="alphaLcParenR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609393" rtl="0" eaLnBrk="1" latinLnBrk="0" hangingPunct="1">
        <a:lnSpc>
          <a:spcPct val="100000"/>
        </a:lnSpc>
        <a:spcBef>
          <a:spcPts val="267"/>
        </a:spcBef>
        <a:spcAft>
          <a:spcPts val="267"/>
        </a:spcAft>
        <a:buClr>
          <a:schemeClr val="accent1"/>
        </a:buClr>
        <a:buFont typeface="+mj-lt"/>
        <a:buNone/>
        <a:defRPr sz="1000" b="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609393" rtl="0" eaLnBrk="1" latinLnBrk="0" hangingPunct="1">
        <a:lnSpc>
          <a:spcPct val="100000"/>
        </a:lnSpc>
        <a:spcBef>
          <a:spcPts val="267"/>
        </a:spcBef>
        <a:spcAft>
          <a:spcPts val="267"/>
        </a:spcAft>
        <a:buClr>
          <a:schemeClr val="tx2"/>
        </a:buClr>
        <a:buFont typeface="Wingdings" pitchFamily="2" charset="2"/>
        <a:buNone/>
        <a:defRPr sz="1000" b="0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609393" rtl="0" eaLnBrk="1" latinLnBrk="0" hangingPunct="1">
        <a:lnSpc>
          <a:spcPct val="100000"/>
        </a:lnSpc>
        <a:spcBef>
          <a:spcPts val="267"/>
        </a:spcBef>
        <a:spcAft>
          <a:spcPts val="267"/>
        </a:spcAft>
        <a:buClr>
          <a:schemeClr val="tx2"/>
        </a:buClr>
        <a:buFont typeface="Wingdings" pitchFamily="2" charset="2"/>
        <a:buNone/>
        <a:defRPr sz="10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3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393" algn="l" defTabSz="6093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786" algn="l" defTabSz="6093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180" algn="l" defTabSz="6093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572" algn="l" defTabSz="6093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6964" algn="l" defTabSz="6093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357" algn="l" defTabSz="6093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752" algn="l" defTabSz="6093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144" algn="l" defTabSz="6093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5" userDrawn="1">
          <p15:clr>
            <a:srgbClr val="F26B43"/>
          </p15:clr>
        </p15:guide>
        <p15:guide id="2" pos="257" userDrawn="1">
          <p15:clr>
            <a:srgbClr val="F26B43"/>
          </p15:clr>
        </p15:guide>
        <p15:guide id="3" pos="2525" userDrawn="1">
          <p15:clr>
            <a:srgbClr val="F26B43"/>
          </p15:clr>
        </p15:guide>
        <p15:guide id="4" pos="2706" userDrawn="1">
          <p15:clr>
            <a:srgbClr val="F26B43"/>
          </p15:clr>
        </p15:guide>
        <p15:guide id="5" pos="3749" userDrawn="1">
          <p15:clr>
            <a:srgbClr val="F26B43"/>
          </p15:clr>
        </p15:guide>
        <p15:guide id="6" pos="3931" userDrawn="1">
          <p15:clr>
            <a:srgbClr val="F26B43"/>
          </p15:clr>
        </p15:guide>
        <p15:guide id="7" pos="4974" userDrawn="1">
          <p15:clr>
            <a:srgbClr val="F26B43"/>
          </p15:clr>
        </p15:guide>
        <p15:guide id="8" pos="5155" userDrawn="1">
          <p15:clr>
            <a:srgbClr val="F26B43"/>
          </p15:clr>
        </p15:guide>
        <p15:guide id="9" pos="7423" userDrawn="1">
          <p15:clr>
            <a:srgbClr val="F26B43"/>
          </p15:clr>
        </p15:guide>
        <p15:guide id="10" orient="horz" pos="754" userDrawn="1">
          <p15:clr>
            <a:srgbClr val="F26B43"/>
          </p15:clr>
        </p15:guide>
        <p15:guide id="11" orient="horz" pos="935" userDrawn="1">
          <p15:clr>
            <a:srgbClr val="F26B43"/>
          </p15:clr>
        </p15:guide>
        <p15:guide id="12" orient="horz" pos="2387" userDrawn="1">
          <p15:clr>
            <a:srgbClr val="F26B43"/>
          </p15:clr>
        </p15:guide>
        <p15:guide id="13" orient="horz" pos="2568" userDrawn="1">
          <p15:clr>
            <a:srgbClr val="F26B43"/>
          </p15:clr>
        </p15:guide>
        <p15:guide id="14" orient="horz" pos="4020" userDrawn="1">
          <p15:clr>
            <a:srgbClr val="F26B43"/>
          </p15:clr>
        </p15:guide>
        <p15:guide id="15" orient="horz" pos="415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Cloud_application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en.wikipedia.org/wiki/DevOps" TargetMode="External"/><Relationship Id="rId5" Type="http://schemas.openxmlformats.org/officeDocument/2006/relationships/hyperlink" Target="https://en.wikipedia.org/wiki/Operating-system-level_virtualization" TargetMode="External"/><Relationship Id="rId4" Type="http://schemas.openxmlformats.org/officeDocument/2006/relationships/hyperlink" Target="https://en.wikipedia.org/wiki/Serverless_computing" TargetMode="Externa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631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3208DC2-F530-4691-9476-F2E42EA0176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pPr lvl="1"/>
            <a:r>
              <a:rPr lang="de-DE" dirty="0" err="1"/>
              <a:t>test</a:t>
            </a:r>
            <a:r>
              <a:rPr lang="de-DE" dirty="0"/>
              <a:t> </a:t>
            </a:r>
            <a:r>
              <a:rPr lang="de-DE" dirty="0" err="1"/>
              <a:t>file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placed</a:t>
            </a:r>
            <a:r>
              <a:rPr lang="de-DE" dirty="0"/>
              <a:t> </a:t>
            </a:r>
            <a:r>
              <a:rPr lang="de-DE" dirty="0" err="1"/>
              <a:t>side-by-side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code </a:t>
            </a:r>
            <a:r>
              <a:rPr lang="de-DE" dirty="0" err="1"/>
              <a:t>files</a:t>
            </a:r>
            <a:endParaRPr lang="de-DE" dirty="0"/>
          </a:p>
          <a:p>
            <a:pPr lvl="1"/>
            <a:r>
              <a:rPr lang="de-DE" dirty="0"/>
              <a:t>simple </a:t>
            </a:r>
            <a:r>
              <a:rPr lang="de-DE" dirty="0" err="1"/>
              <a:t>naming</a:t>
            </a:r>
            <a:r>
              <a:rPr lang="de-DE" dirty="0"/>
              <a:t> </a:t>
            </a:r>
            <a:r>
              <a:rPr lang="de-DE" dirty="0" err="1"/>
              <a:t>convention</a:t>
            </a:r>
            <a:endParaRPr lang="de-DE" dirty="0"/>
          </a:p>
          <a:p>
            <a:pPr lvl="2"/>
            <a:r>
              <a:rPr lang="de-DE" dirty="0"/>
              <a:t>all </a:t>
            </a:r>
            <a:r>
              <a:rPr lang="de-DE" dirty="0" err="1"/>
              <a:t>files</a:t>
            </a:r>
            <a:r>
              <a:rPr lang="de-DE" dirty="0"/>
              <a:t> </a:t>
            </a:r>
            <a:r>
              <a:rPr lang="de-DE" dirty="0" err="1"/>
              <a:t>matching</a:t>
            </a:r>
            <a:r>
              <a:rPr lang="de-DE" dirty="0"/>
              <a:t> *_</a:t>
            </a:r>
            <a:r>
              <a:rPr lang="de-DE" dirty="0" err="1"/>
              <a:t>test.go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regarded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test</a:t>
            </a:r>
            <a:r>
              <a:rPr lang="de-DE" dirty="0"/>
              <a:t> </a:t>
            </a:r>
            <a:r>
              <a:rPr lang="de-DE" dirty="0" err="1"/>
              <a:t>files</a:t>
            </a:r>
            <a:endParaRPr lang="de-DE" dirty="0"/>
          </a:p>
          <a:p>
            <a:pPr lvl="2"/>
            <a:r>
              <a:rPr lang="de-DE" dirty="0"/>
              <a:t>all </a:t>
            </a:r>
            <a:r>
              <a:rPr lang="de-DE" dirty="0" err="1"/>
              <a:t>functions</a:t>
            </a:r>
            <a:r>
              <a:rPr lang="de-DE" dirty="0"/>
              <a:t> </a:t>
            </a:r>
            <a:r>
              <a:rPr lang="de-DE" dirty="0" err="1"/>
              <a:t>starting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Test…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regarded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test</a:t>
            </a:r>
            <a:r>
              <a:rPr lang="de-DE" dirty="0"/>
              <a:t> </a:t>
            </a:r>
            <a:r>
              <a:rPr lang="de-DE" dirty="0" err="1"/>
              <a:t>cases</a:t>
            </a:r>
            <a:endParaRPr lang="de-DE" dirty="0"/>
          </a:p>
          <a:p>
            <a:pPr lvl="1"/>
            <a:r>
              <a:rPr lang="de-DE" dirty="0" err="1"/>
              <a:t>each</a:t>
            </a:r>
            <a:r>
              <a:rPr lang="de-DE" dirty="0"/>
              <a:t> </a:t>
            </a:r>
            <a:r>
              <a:rPr lang="de-DE" dirty="0" err="1"/>
              <a:t>test</a:t>
            </a:r>
            <a:r>
              <a:rPr lang="de-DE" dirty="0"/>
              <a:t> </a:t>
            </a:r>
            <a:r>
              <a:rPr lang="de-DE" dirty="0" err="1"/>
              <a:t>case</a:t>
            </a:r>
            <a:r>
              <a:rPr lang="de-DE" dirty="0"/>
              <a:t> </a:t>
            </a:r>
            <a:r>
              <a:rPr lang="de-DE" dirty="0" err="1"/>
              <a:t>function</a:t>
            </a:r>
            <a:r>
              <a:rPr lang="de-DE" dirty="0"/>
              <a:t> </a:t>
            </a:r>
            <a:r>
              <a:rPr lang="de-DE" dirty="0" err="1"/>
              <a:t>receives</a:t>
            </a:r>
            <a:r>
              <a:rPr lang="de-DE" dirty="0"/>
              <a:t> a </a:t>
            </a:r>
            <a:r>
              <a:rPr lang="de-DE" dirty="0" err="1"/>
              <a:t>test</a:t>
            </a:r>
            <a:r>
              <a:rPr lang="de-DE" dirty="0"/>
              <a:t> </a:t>
            </a:r>
            <a:r>
              <a:rPr lang="de-DE" dirty="0" err="1"/>
              <a:t>context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parameter</a:t>
            </a:r>
            <a:endParaRPr lang="de-DE" dirty="0"/>
          </a:p>
          <a:p>
            <a:pPr lvl="1"/>
            <a:r>
              <a:rPr lang="de-DE" dirty="0" err="1"/>
              <a:t>test</a:t>
            </a:r>
            <a:r>
              <a:rPr lang="de-DE" dirty="0"/>
              <a:t> </a:t>
            </a:r>
            <a:r>
              <a:rPr lang="de-DE" dirty="0" err="1"/>
              <a:t>context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logging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writing</a:t>
            </a:r>
            <a:r>
              <a:rPr lang="de-DE" dirty="0"/>
              <a:t> </a:t>
            </a:r>
            <a:r>
              <a:rPr lang="de-DE" dirty="0" err="1"/>
              <a:t>asserts</a:t>
            </a:r>
            <a:endParaRPr lang="de-DE" dirty="0"/>
          </a:p>
          <a:p>
            <a:pPr lvl="1"/>
            <a:r>
              <a:rPr lang="de-DE" dirty="0" err="1"/>
              <a:t>test</a:t>
            </a:r>
            <a:r>
              <a:rPr lang="de-DE" dirty="0"/>
              <a:t> code </a:t>
            </a:r>
            <a:r>
              <a:rPr lang="de-DE" dirty="0" err="1"/>
              <a:t>is</a:t>
            </a:r>
            <a:r>
              <a:rPr lang="de-DE" dirty="0"/>
              <a:t> not </a:t>
            </a:r>
            <a:r>
              <a:rPr lang="de-DE" dirty="0" err="1"/>
              <a:t>compiled</a:t>
            </a:r>
            <a:r>
              <a:rPr lang="de-DE" dirty="0"/>
              <a:t> </a:t>
            </a:r>
            <a:r>
              <a:rPr lang="de-DE" dirty="0" err="1"/>
              <a:t>into</a:t>
            </a:r>
            <a:r>
              <a:rPr lang="de-DE" dirty="0"/>
              <a:t> </a:t>
            </a:r>
            <a:r>
              <a:rPr lang="de-DE" dirty="0" err="1"/>
              <a:t>executable</a:t>
            </a:r>
            <a:r>
              <a:rPr lang="de-DE" dirty="0"/>
              <a:t> </a:t>
            </a:r>
            <a:r>
              <a:rPr lang="de-DE" dirty="0" err="1"/>
              <a:t>binaries</a:t>
            </a:r>
            <a:endParaRPr lang="de-DE" dirty="0"/>
          </a:p>
          <a:p>
            <a:pPr lvl="1"/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2EBC5BF-671D-4EA8-8245-A3308A329928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43CE7C91-877C-44D6-9892-950E5E0626D1}" type="datetime1">
              <a:rPr lang="de-DE" smtClean="0"/>
              <a:t>16.03.2021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57DFC5B-DF21-4855-94BC-4CACAE702E1E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© MHP Management- und IT-Beratung GmbH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31ABE4D-78C9-4DE3-BB99-689A809DAA6C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78B71ED7-D7C6-4561-BE05-565FF9BF8C1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45C35AED-8839-4A0E-A8C2-BF8A4BC9BD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o Unit </a:t>
            </a:r>
            <a:r>
              <a:rPr lang="de-DE" dirty="0" err="1"/>
              <a:t>Testing</a:t>
            </a:r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28481313-A05D-4A33-888C-3B769C8AAE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31288" y="1614490"/>
            <a:ext cx="3486150" cy="4191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3039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/>
              <a:t>Hard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say</a:t>
            </a:r>
            <a:r>
              <a:rPr lang="de-DE" dirty="0"/>
              <a:t>, </a:t>
            </a:r>
            <a:r>
              <a:rPr lang="de-DE" dirty="0" err="1"/>
              <a:t>some</a:t>
            </a:r>
            <a:r>
              <a:rPr lang="de-DE" dirty="0"/>
              <a:t> </a:t>
            </a:r>
            <a:r>
              <a:rPr lang="de-DE" dirty="0" err="1"/>
              <a:t>citations</a:t>
            </a:r>
            <a:r>
              <a:rPr lang="de-DE" dirty="0"/>
              <a:t>:</a:t>
            </a:r>
          </a:p>
          <a:p>
            <a:r>
              <a:rPr lang="de-DE" dirty="0"/>
              <a:t>„…</a:t>
            </a:r>
            <a:r>
              <a:rPr lang="en-US" dirty="0"/>
              <a:t>In a microservices architecture, services are fine-grained and the protocols are lightweight…”</a:t>
            </a:r>
          </a:p>
          <a:p>
            <a:r>
              <a:rPr lang="de-DE" dirty="0"/>
              <a:t>„</a:t>
            </a:r>
            <a:r>
              <a:rPr lang="en-US" dirty="0"/>
              <a:t>…Services are small in size, messaging-enabled…”</a:t>
            </a:r>
          </a:p>
          <a:p>
            <a:r>
              <a:rPr lang="de-DE" dirty="0"/>
              <a:t>„ </a:t>
            </a:r>
            <a:r>
              <a:rPr lang="en-US" dirty="0"/>
              <a:t>… It is common for microservices architectures to be adopted for </a:t>
            </a:r>
            <a:r>
              <a:rPr lang="en-US" dirty="0">
                <a:hlinkClick r:id="rId3" tooltip="Cloud application"/>
              </a:rPr>
              <a:t>cloud-native applications</a:t>
            </a:r>
            <a:r>
              <a:rPr lang="en-US" dirty="0"/>
              <a:t>, </a:t>
            </a:r>
            <a:r>
              <a:rPr lang="en-US" dirty="0">
                <a:hlinkClick r:id="rId4" tooltip="Serverless computing"/>
              </a:rPr>
              <a:t>serverless computing</a:t>
            </a:r>
            <a:r>
              <a:rPr lang="en-US" dirty="0"/>
              <a:t>, and applications using lightweight </a:t>
            </a:r>
            <a:r>
              <a:rPr lang="en-US" dirty="0">
                <a:hlinkClick r:id="rId5" tooltip="Operating-system-level virtualization"/>
              </a:rPr>
              <a:t>container</a:t>
            </a:r>
            <a:r>
              <a:rPr lang="en-US" dirty="0"/>
              <a:t> deployment…”</a:t>
            </a:r>
          </a:p>
          <a:p>
            <a:r>
              <a:rPr lang="de-DE" dirty="0"/>
              <a:t>„</a:t>
            </a:r>
            <a:r>
              <a:rPr lang="en-US" dirty="0"/>
              <a:t>… because of the large number of services, decentralized continuous delivery and </a:t>
            </a:r>
            <a:r>
              <a:rPr lang="en-US" dirty="0">
                <a:hlinkClick r:id="rId6" tooltip="DevOps"/>
              </a:rPr>
              <a:t>DevOps</a:t>
            </a:r>
            <a:r>
              <a:rPr lang="en-US" dirty="0"/>
              <a:t> with holistic service monitoring are necessary to effectively develop, maintain, and operate such applications…”</a:t>
            </a:r>
          </a:p>
          <a:p>
            <a:endParaRPr lang="de-DE" dirty="0"/>
          </a:p>
        </p:txBody>
      </p:sp>
      <p:sp>
        <p:nvSpPr>
          <p:cNvPr id="20" name="Titel 19"/>
          <p:cNvSpPr>
            <a:spLocks noGrp="1"/>
          </p:cNvSpPr>
          <p:nvPr>
            <p:ph type="title"/>
          </p:nvPr>
        </p:nvSpPr>
        <p:spPr>
          <a:xfrm>
            <a:off x="407988" y="404814"/>
            <a:ext cx="7777162" cy="792162"/>
          </a:xfrm>
        </p:spPr>
        <p:txBody>
          <a:bodyPr/>
          <a:lstStyle/>
          <a:p>
            <a:r>
              <a:rPr lang="en-US" dirty="0" err="1"/>
              <a:t>Whats</a:t>
            </a:r>
            <a:r>
              <a:rPr lang="en-US" dirty="0"/>
              <a:t> a microservice anyhow?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70E9AACE-BDBD-415B-8195-34948F18EBB2}" type="datetime1">
              <a:rPr lang="de-DE" smtClean="0"/>
              <a:pPr/>
              <a:t>16.03.2021</a:t>
            </a:fld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1073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E28A2183-B446-4C59-852A-6CFCC603375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/>
              <a:t>Technical </a:t>
            </a:r>
            <a:r>
              <a:rPr lang="de-DE" dirty="0" err="1"/>
              <a:t>take</a:t>
            </a:r>
            <a:r>
              <a:rPr lang="de-DE" dirty="0"/>
              <a:t> </a:t>
            </a:r>
            <a:r>
              <a:rPr lang="de-DE" dirty="0" err="1"/>
              <a:t>aways</a:t>
            </a:r>
            <a:r>
              <a:rPr lang="de-DE" dirty="0"/>
              <a:t>:</a:t>
            </a:r>
          </a:p>
          <a:p>
            <a:pPr lvl="1"/>
            <a:r>
              <a:rPr lang="de-DE" i="1" dirty="0" err="1"/>
              <a:t>fine-grained</a:t>
            </a:r>
            <a:r>
              <a:rPr lang="de-DE" i="1" dirty="0"/>
              <a:t>, </a:t>
            </a:r>
            <a:r>
              <a:rPr lang="de-DE" i="1" dirty="0" err="1"/>
              <a:t>small</a:t>
            </a:r>
            <a:r>
              <a:rPr lang="de-DE" i="1" dirty="0"/>
              <a:t> in </a:t>
            </a:r>
            <a:r>
              <a:rPr lang="de-DE" i="1" dirty="0" err="1"/>
              <a:t>size</a:t>
            </a:r>
            <a:r>
              <a:rPr lang="de-DE" i="1" dirty="0"/>
              <a:t>, large </a:t>
            </a:r>
            <a:r>
              <a:rPr lang="de-DE" i="1" dirty="0" err="1"/>
              <a:t>number</a:t>
            </a:r>
            <a:r>
              <a:rPr lang="de-DE" i="1" dirty="0"/>
              <a:t> </a:t>
            </a:r>
            <a:r>
              <a:rPr lang="de-DE" i="1" dirty="0" err="1"/>
              <a:t>of</a:t>
            </a:r>
            <a:r>
              <a:rPr lang="de-DE" i="1" dirty="0"/>
              <a:t> </a:t>
            </a:r>
            <a:r>
              <a:rPr lang="de-DE" i="1" dirty="0" err="1"/>
              <a:t>service</a:t>
            </a:r>
            <a:r>
              <a:rPr lang="de-DE" dirty="0"/>
              <a:t>: </a:t>
            </a:r>
            <a:r>
              <a:rPr lang="de-DE" dirty="0" err="1"/>
              <a:t>each</a:t>
            </a:r>
            <a:r>
              <a:rPr lang="de-DE" dirty="0"/>
              <a:t> </a:t>
            </a:r>
            <a:r>
              <a:rPr lang="de-DE" dirty="0" err="1"/>
              <a:t>service</a:t>
            </a:r>
            <a:r>
              <a:rPr lang="de-DE" dirty="0"/>
              <a:t> </a:t>
            </a:r>
            <a:r>
              <a:rPr lang="de-DE" dirty="0" err="1"/>
              <a:t>need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CPU/</a:t>
            </a:r>
            <a:r>
              <a:rPr lang="de-DE" dirty="0" err="1"/>
              <a:t>memory</a:t>
            </a:r>
            <a:r>
              <a:rPr lang="de-DE" dirty="0"/>
              <a:t> </a:t>
            </a:r>
            <a:r>
              <a:rPr lang="de-DE" dirty="0" err="1"/>
              <a:t>efficient</a:t>
            </a:r>
            <a:r>
              <a:rPr lang="de-DE" dirty="0"/>
              <a:t>, </a:t>
            </a:r>
            <a:r>
              <a:rPr lang="de-DE" dirty="0" err="1"/>
              <a:t>because</a:t>
            </a:r>
            <a:r>
              <a:rPr lang="de-DE" dirty="0"/>
              <a:t> </a:t>
            </a:r>
            <a:r>
              <a:rPr lang="de-DE" dirty="0" err="1"/>
              <a:t>inefficiencies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up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large </a:t>
            </a:r>
            <a:r>
              <a:rPr lang="de-DE" dirty="0" err="1"/>
              <a:t>numbe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microservices</a:t>
            </a:r>
            <a:endParaRPr lang="de-DE" dirty="0"/>
          </a:p>
          <a:p>
            <a:pPr lvl="1"/>
            <a:r>
              <a:rPr lang="de-DE" i="1" dirty="0" err="1"/>
              <a:t>lightweight</a:t>
            </a:r>
            <a:r>
              <a:rPr lang="de-DE" i="1" dirty="0"/>
              <a:t> </a:t>
            </a:r>
            <a:r>
              <a:rPr lang="de-DE" i="1" dirty="0" err="1"/>
              <a:t>protocols</a:t>
            </a:r>
            <a:r>
              <a:rPr lang="de-DE" dirty="0"/>
              <a:t>: </a:t>
            </a:r>
            <a:r>
              <a:rPr lang="de-DE" dirty="0" err="1"/>
              <a:t>best</a:t>
            </a:r>
            <a:r>
              <a:rPr lang="de-DE" dirty="0"/>
              <a:t> </a:t>
            </a:r>
            <a:r>
              <a:rPr lang="de-DE" dirty="0" err="1"/>
              <a:t>protocol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those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do not </a:t>
            </a:r>
            <a:r>
              <a:rPr lang="de-DE" dirty="0" err="1"/>
              <a:t>need</a:t>
            </a:r>
            <a:r>
              <a:rPr lang="de-DE" dirty="0"/>
              <a:t> a </a:t>
            </a:r>
            <a:r>
              <a:rPr lang="de-DE" dirty="0" err="1"/>
              <a:t>special</a:t>
            </a:r>
            <a:r>
              <a:rPr lang="de-DE" dirty="0"/>
              <a:t> </a:t>
            </a:r>
            <a:r>
              <a:rPr lang="de-DE" dirty="0" err="1"/>
              <a:t>framework</a:t>
            </a:r>
            <a:r>
              <a:rPr lang="de-DE" dirty="0"/>
              <a:t>/</a:t>
            </a:r>
            <a:r>
              <a:rPr lang="de-DE" dirty="0" err="1"/>
              <a:t>library</a:t>
            </a:r>
            <a:r>
              <a:rPr lang="de-DE" dirty="0"/>
              <a:t> and </a:t>
            </a:r>
            <a:r>
              <a:rPr lang="de-DE" dirty="0" err="1"/>
              <a:t>ad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official</a:t>
            </a:r>
            <a:r>
              <a:rPr lang="de-DE" dirty="0"/>
              <a:t> </a:t>
            </a:r>
            <a:r>
              <a:rPr lang="de-DE" dirty="0" err="1"/>
              <a:t>standards</a:t>
            </a:r>
            <a:r>
              <a:rPr lang="de-DE" dirty="0"/>
              <a:t> like HTTP</a:t>
            </a:r>
          </a:p>
          <a:p>
            <a:pPr lvl="1"/>
            <a:r>
              <a:rPr lang="de-DE" i="1" dirty="0" err="1"/>
              <a:t>cloud</a:t>
            </a:r>
            <a:r>
              <a:rPr lang="de-DE" i="1" dirty="0"/>
              <a:t>-native/</a:t>
            </a:r>
            <a:r>
              <a:rPr lang="de-DE" i="1" dirty="0" err="1"/>
              <a:t>serverless</a:t>
            </a:r>
            <a:r>
              <a:rPr lang="de-DE" i="1" dirty="0"/>
              <a:t>, </a:t>
            </a:r>
            <a:r>
              <a:rPr lang="de-DE" i="1" dirty="0" err="1"/>
              <a:t>container</a:t>
            </a:r>
            <a:r>
              <a:rPr lang="de-DE" i="1" dirty="0"/>
              <a:t> </a:t>
            </a:r>
            <a:r>
              <a:rPr lang="de-DE" i="1" dirty="0" err="1"/>
              <a:t>deployment</a:t>
            </a:r>
            <a:r>
              <a:rPr lang="de-DE" dirty="0"/>
              <a:t>: </a:t>
            </a:r>
            <a:r>
              <a:rPr lang="de-DE" dirty="0" err="1"/>
              <a:t>only</a:t>
            </a:r>
            <a:r>
              <a:rPr lang="de-DE" dirty="0"/>
              <a:t> deploy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docker</a:t>
            </a:r>
            <a:r>
              <a:rPr lang="de-DE" dirty="0"/>
              <a:t> </a:t>
            </a:r>
            <a:r>
              <a:rPr lang="de-DE" dirty="0" err="1"/>
              <a:t>containers</a:t>
            </a:r>
            <a:r>
              <a:rPr lang="de-DE" dirty="0"/>
              <a:t>, </a:t>
            </a:r>
            <a:r>
              <a:rPr lang="de-DE" dirty="0" err="1"/>
              <a:t>there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no</a:t>
            </a:r>
            <a:r>
              <a:rPr lang="de-DE" dirty="0"/>
              <a:t> viable alternative a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moment</a:t>
            </a:r>
            <a:endParaRPr lang="de-DE" dirty="0"/>
          </a:p>
          <a:p>
            <a:pPr lvl="1"/>
            <a:r>
              <a:rPr lang="de-DE" i="1" dirty="0" err="1"/>
              <a:t>DevOps</a:t>
            </a:r>
            <a:r>
              <a:rPr lang="de-DE" i="1" dirty="0"/>
              <a:t>/</a:t>
            </a:r>
            <a:r>
              <a:rPr lang="de-DE" i="1" dirty="0" err="1"/>
              <a:t>continuous</a:t>
            </a:r>
            <a:r>
              <a:rPr lang="de-DE" i="1" dirty="0"/>
              <a:t> </a:t>
            </a:r>
            <a:r>
              <a:rPr lang="de-DE" i="1" dirty="0" err="1"/>
              <a:t>delivery</a:t>
            </a:r>
            <a:r>
              <a:rPr lang="de-DE" dirty="0"/>
              <a:t>: </a:t>
            </a:r>
            <a:r>
              <a:rPr lang="de-DE" dirty="0" err="1"/>
              <a:t>deployment</a:t>
            </a:r>
            <a:r>
              <a:rPr lang="de-DE" dirty="0"/>
              <a:t> </a:t>
            </a:r>
            <a:r>
              <a:rPr lang="de-DE" dirty="0" err="1"/>
              <a:t>must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easily</a:t>
            </a:r>
            <a:r>
              <a:rPr lang="de-DE" dirty="0"/>
              <a:t> </a:t>
            </a:r>
            <a:r>
              <a:rPr lang="de-DE" dirty="0" err="1"/>
              <a:t>automatable</a:t>
            </a:r>
            <a:r>
              <a:rPr lang="de-DE" dirty="0"/>
              <a:t>, </a:t>
            </a:r>
            <a:r>
              <a:rPr lang="de-DE" dirty="0" err="1"/>
              <a:t>kubernetes</a:t>
            </a:r>
            <a:r>
              <a:rPr lang="de-DE" dirty="0"/>
              <a:t> </a:t>
            </a:r>
            <a:r>
              <a:rPr lang="de-DE" dirty="0" err="1"/>
              <a:t>does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job</a:t>
            </a:r>
            <a:endParaRPr lang="de-DE" dirty="0"/>
          </a:p>
          <a:p>
            <a:pPr lvl="1"/>
            <a:r>
              <a:rPr lang="de-DE" i="1" dirty="0" err="1"/>
              <a:t>holistic</a:t>
            </a:r>
            <a:r>
              <a:rPr lang="de-DE" i="1" dirty="0"/>
              <a:t> </a:t>
            </a:r>
            <a:r>
              <a:rPr lang="de-DE" i="1" dirty="0" err="1"/>
              <a:t>service</a:t>
            </a:r>
            <a:r>
              <a:rPr lang="de-DE" i="1" dirty="0"/>
              <a:t> </a:t>
            </a:r>
            <a:r>
              <a:rPr lang="de-DE" i="1" dirty="0" err="1"/>
              <a:t>monitoring</a:t>
            </a:r>
            <a:r>
              <a:rPr lang="de-DE" dirty="0"/>
              <a:t>: </a:t>
            </a:r>
            <a:r>
              <a:rPr lang="de-DE" dirty="0" err="1"/>
              <a:t>monitoring</a:t>
            </a:r>
            <a:r>
              <a:rPr lang="de-DE" dirty="0"/>
              <a:t> </a:t>
            </a:r>
            <a:r>
              <a:rPr lang="de-DE" dirty="0" err="1"/>
              <a:t>must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build</a:t>
            </a:r>
            <a:r>
              <a:rPr lang="de-DE" dirty="0"/>
              <a:t> in and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should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easy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tegrate</a:t>
            </a:r>
            <a:endParaRPr lang="de-DE" dirty="0"/>
          </a:p>
          <a:p>
            <a:pPr lvl="1"/>
            <a:r>
              <a:rPr lang="de-DE" i="1" dirty="0" err="1"/>
              <a:t>messaging</a:t>
            </a:r>
            <a:r>
              <a:rPr lang="de-DE" i="1" dirty="0"/>
              <a:t> </a:t>
            </a:r>
            <a:r>
              <a:rPr lang="de-DE" i="1" dirty="0" err="1"/>
              <a:t>enabled</a:t>
            </a:r>
            <a:r>
              <a:rPr lang="de-DE" dirty="0"/>
              <a:t>: </a:t>
            </a:r>
            <a:r>
              <a:rPr lang="de-DE" dirty="0" err="1"/>
              <a:t>easier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get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service</a:t>
            </a:r>
            <a:r>
              <a:rPr lang="de-DE" dirty="0"/>
              <a:t> </a:t>
            </a:r>
            <a:r>
              <a:rPr lang="de-DE" dirty="0" err="1"/>
              <a:t>landscape</a:t>
            </a:r>
            <a:r>
              <a:rPr lang="de-DE" dirty="0"/>
              <a:t> resilient,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messaging</a:t>
            </a:r>
            <a:r>
              <a:rPr lang="de-DE" dirty="0"/>
              <a:t> </a:t>
            </a:r>
            <a:r>
              <a:rPr lang="de-DE" dirty="0" err="1"/>
              <a:t>system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built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highly</a:t>
            </a:r>
            <a:r>
              <a:rPr lang="de-DE" dirty="0"/>
              <a:t> </a:t>
            </a:r>
            <a:r>
              <a:rPr lang="de-DE" dirty="0" err="1"/>
              <a:t>available</a:t>
            </a:r>
            <a:r>
              <a:rPr lang="de-DE" dirty="0"/>
              <a:t> and fast</a:t>
            </a:r>
          </a:p>
          <a:p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CE403C1-8D31-49C0-AA95-0551C48A2490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43CE7C91-877C-44D6-9892-950E5E0626D1}" type="datetime1">
              <a:rPr lang="de-DE" smtClean="0"/>
              <a:t>16.03.2021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97524DE-8DC0-47CB-8014-FB4B22BCBAE8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© MHP Management- und IT-Beratung GmbH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FA2BB65-784C-4B68-93BF-069B2C5D14FE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69D1C10-CCFF-4E58-BB86-0D72E0793E1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E6F15F24-3FC3-4CE5-B35B-9EC87EB04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croservice </a:t>
            </a:r>
            <a:r>
              <a:rPr lang="de-DE" dirty="0" err="1"/>
              <a:t>tech</a:t>
            </a:r>
            <a:r>
              <a:rPr lang="de-DE" dirty="0"/>
              <a:t> </a:t>
            </a:r>
            <a:r>
              <a:rPr lang="de-DE" dirty="0" err="1"/>
              <a:t>guidelin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07626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/>
              <a:t>Implement a REST </a:t>
            </a:r>
            <a:r>
              <a:rPr lang="de-DE" dirty="0" err="1"/>
              <a:t>service</a:t>
            </a:r>
            <a:r>
              <a:rPr lang="de-DE" dirty="0"/>
              <a:t> </a:t>
            </a:r>
            <a:r>
              <a:rPr lang="de-DE" dirty="0" err="1"/>
              <a:t>with</a:t>
            </a:r>
            <a:endParaRPr lang="de-DE" dirty="0"/>
          </a:p>
          <a:p>
            <a:pPr lvl="1"/>
            <a:r>
              <a:rPr lang="de-DE" dirty="0" err="1"/>
              <a:t>docker</a:t>
            </a:r>
            <a:r>
              <a:rPr lang="de-DE" dirty="0"/>
              <a:t> </a:t>
            </a:r>
            <a:r>
              <a:rPr lang="de-DE" dirty="0" err="1"/>
              <a:t>image</a:t>
            </a:r>
            <a:endParaRPr lang="de-DE" dirty="0"/>
          </a:p>
          <a:p>
            <a:pPr lvl="1"/>
            <a:r>
              <a:rPr lang="de-DE" dirty="0" err="1"/>
              <a:t>helm</a:t>
            </a:r>
            <a:r>
              <a:rPr lang="de-DE" dirty="0"/>
              <a:t> </a:t>
            </a:r>
            <a:r>
              <a:rPr lang="de-DE" dirty="0" err="1"/>
              <a:t>chart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ploying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kubernetes</a:t>
            </a:r>
            <a:endParaRPr lang="de-DE" dirty="0"/>
          </a:p>
          <a:p>
            <a:pPr lvl="1"/>
            <a:r>
              <a:rPr lang="de-DE" dirty="0" err="1"/>
              <a:t>health</a:t>
            </a:r>
            <a:r>
              <a:rPr lang="de-DE" dirty="0"/>
              <a:t> </a:t>
            </a:r>
            <a:r>
              <a:rPr lang="de-DE" dirty="0" err="1"/>
              <a:t>endpoint</a:t>
            </a:r>
            <a:r>
              <a:rPr lang="de-DE" dirty="0"/>
              <a:t> so </a:t>
            </a:r>
            <a:r>
              <a:rPr lang="de-DE" dirty="0" err="1"/>
              <a:t>kubernetes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restart</a:t>
            </a:r>
            <a:r>
              <a:rPr lang="de-DE" dirty="0"/>
              <a:t> a </a:t>
            </a:r>
            <a:r>
              <a:rPr lang="de-DE" dirty="0" err="1"/>
              <a:t>failed</a:t>
            </a:r>
            <a:r>
              <a:rPr lang="de-DE" dirty="0"/>
              <a:t> </a:t>
            </a:r>
            <a:r>
              <a:rPr lang="de-DE" dirty="0" err="1"/>
              <a:t>pod</a:t>
            </a:r>
            <a:endParaRPr lang="de-DE" dirty="0"/>
          </a:p>
          <a:p>
            <a:pPr lvl="1"/>
            <a:r>
              <a:rPr lang="de-DE" dirty="0" err="1"/>
              <a:t>metrics</a:t>
            </a:r>
            <a:r>
              <a:rPr lang="de-DE" dirty="0"/>
              <a:t> </a:t>
            </a:r>
            <a:r>
              <a:rPr lang="de-DE" dirty="0" err="1"/>
              <a:t>endpoint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monitoring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prometheus</a:t>
            </a:r>
            <a:endParaRPr lang="de-DE" dirty="0"/>
          </a:p>
          <a:p>
            <a:pPr lvl="1"/>
            <a:r>
              <a:rPr lang="de-DE" dirty="0" err="1"/>
              <a:t>logging</a:t>
            </a:r>
            <a:endParaRPr lang="de-DE" dirty="0"/>
          </a:p>
          <a:p>
            <a:pPr lvl="1"/>
            <a:r>
              <a:rPr lang="de-DE" dirty="0"/>
              <a:t>SQL </a:t>
            </a:r>
            <a:r>
              <a:rPr lang="de-DE" dirty="0" err="1"/>
              <a:t>database</a:t>
            </a:r>
            <a:r>
              <a:rPr lang="de-DE" dirty="0"/>
              <a:t> </a:t>
            </a:r>
            <a:r>
              <a:rPr lang="de-DE" dirty="0" err="1"/>
              <a:t>integration</a:t>
            </a:r>
            <a:endParaRPr lang="de-DE" dirty="0"/>
          </a:p>
          <a:p>
            <a:pPr marL="0" lvl="1" indent="0">
              <a:buNone/>
            </a:pPr>
            <a:endParaRPr lang="de-DE" dirty="0"/>
          </a:p>
        </p:txBody>
      </p:sp>
      <p:sp>
        <p:nvSpPr>
          <p:cNvPr id="20" name="Titel 19"/>
          <p:cNvSpPr>
            <a:spLocks noGrp="1"/>
          </p:cNvSpPr>
          <p:nvPr>
            <p:ph type="title"/>
          </p:nvPr>
        </p:nvSpPr>
        <p:spPr>
          <a:xfrm>
            <a:off x="407988" y="404814"/>
            <a:ext cx="7777162" cy="792162"/>
          </a:xfrm>
        </p:spPr>
        <p:txBody>
          <a:bodyPr/>
          <a:lstStyle/>
          <a:p>
            <a:r>
              <a:rPr lang="en-US" dirty="0"/>
              <a:t>Microservice Features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70E9AACE-BDBD-415B-8195-34948F18EBB2}" type="datetime1">
              <a:rPr lang="de-DE" smtClean="0"/>
              <a:pPr/>
              <a:t>16.03.2021</a:t>
            </a:fld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6185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F1C52CBB-CBD8-4A3E-ABBC-97677586DE7A}"/>
              </a:ext>
            </a:extLst>
          </p:cNvPr>
          <p:cNvSpPr/>
          <p:nvPr/>
        </p:nvSpPr>
        <p:spPr bwMode="gray">
          <a:xfrm>
            <a:off x="9048328" y="1844824"/>
            <a:ext cx="2088232" cy="386632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r>
              <a:rPr lang="de-DE" sz="1400" b="1" dirty="0">
                <a:solidFill>
                  <a:schemeClr val="bg1"/>
                </a:solidFill>
              </a:rPr>
              <a:t>WSL2 Linux VM</a:t>
            </a: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7BD8B8E5-2DCA-4F55-B5E0-9928B11BE25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06455" y="1484313"/>
            <a:ext cx="6409625" cy="4897437"/>
          </a:xfrm>
        </p:spPr>
        <p:txBody>
          <a:bodyPr/>
          <a:lstStyle/>
          <a:p>
            <a:pPr lvl="1"/>
            <a:r>
              <a:rPr lang="de-DE" dirty="0" err="1"/>
              <a:t>Install</a:t>
            </a:r>
            <a:r>
              <a:rPr lang="de-DE" dirty="0"/>
              <a:t> WSL2</a:t>
            </a:r>
          </a:p>
          <a:p>
            <a:pPr lvl="1"/>
            <a:r>
              <a:rPr lang="de-DE" dirty="0" err="1"/>
              <a:t>Install</a:t>
            </a:r>
            <a:r>
              <a:rPr lang="de-DE" dirty="0"/>
              <a:t> Docker </a:t>
            </a:r>
            <a:r>
              <a:rPr lang="de-DE" dirty="0" err="1"/>
              <a:t>for</a:t>
            </a:r>
            <a:r>
              <a:rPr lang="de-DE" dirty="0"/>
              <a:t> Windows and </a:t>
            </a:r>
            <a:r>
              <a:rPr lang="de-DE" dirty="0" err="1"/>
              <a:t>configure</a:t>
            </a:r>
            <a:r>
              <a:rPr lang="de-DE" dirty="0"/>
              <a:t> WSL2 backend/</a:t>
            </a:r>
            <a:r>
              <a:rPr lang="de-DE" dirty="0" err="1"/>
              <a:t>Kubernetes</a:t>
            </a:r>
            <a:r>
              <a:rPr lang="de-DE" dirty="0"/>
              <a:t> </a:t>
            </a:r>
            <a:r>
              <a:rPr lang="de-DE" dirty="0" err="1"/>
              <a:t>cluster</a:t>
            </a:r>
            <a:endParaRPr lang="de-DE" dirty="0"/>
          </a:p>
          <a:p>
            <a:pPr lvl="1"/>
            <a:r>
              <a:rPr lang="de-DE" dirty="0" err="1"/>
              <a:t>Install</a:t>
            </a:r>
            <a:r>
              <a:rPr lang="de-DE" dirty="0"/>
              <a:t> Helm</a:t>
            </a:r>
          </a:p>
          <a:p>
            <a:pPr lvl="1"/>
            <a:r>
              <a:rPr lang="de-DE" dirty="0" err="1"/>
              <a:t>Install</a:t>
            </a:r>
            <a:r>
              <a:rPr lang="de-DE" dirty="0"/>
              <a:t> </a:t>
            </a:r>
            <a:r>
              <a:rPr lang="de-DE" dirty="0" err="1"/>
              <a:t>Kubernetes</a:t>
            </a:r>
            <a:r>
              <a:rPr lang="de-DE" dirty="0"/>
              <a:t> </a:t>
            </a:r>
            <a:r>
              <a:rPr lang="de-DE" dirty="0" err="1"/>
              <a:t>services</a:t>
            </a:r>
            <a:endParaRPr lang="de-DE" dirty="0"/>
          </a:p>
          <a:p>
            <a:pPr lvl="2"/>
            <a:r>
              <a:rPr lang="de-DE" dirty="0" err="1"/>
              <a:t>nginx</a:t>
            </a:r>
            <a:r>
              <a:rPr lang="de-DE" dirty="0"/>
              <a:t> </a:t>
            </a:r>
            <a:r>
              <a:rPr lang="de-DE" dirty="0" err="1"/>
              <a:t>ingress</a:t>
            </a:r>
            <a:endParaRPr lang="de-DE" dirty="0"/>
          </a:p>
          <a:p>
            <a:pPr lvl="2"/>
            <a:r>
              <a:rPr lang="de-DE" dirty="0" err="1"/>
              <a:t>postgres</a:t>
            </a:r>
            <a:endParaRPr lang="de-DE" dirty="0"/>
          </a:p>
          <a:p>
            <a:pPr lvl="2"/>
            <a:r>
              <a:rPr lang="de-DE" dirty="0" err="1"/>
              <a:t>prometheus</a:t>
            </a:r>
            <a:endParaRPr lang="de-DE" dirty="0"/>
          </a:p>
          <a:p>
            <a:pPr lvl="2"/>
            <a:r>
              <a:rPr lang="de-DE" dirty="0" err="1"/>
              <a:t>extend</a:t>
            </a:r>
            <a:r>
              <a:rPr lang="de-DE" dirty="0"/>
              <a:t> </a:t>
            </a:r>
            <a:r>
              <a:rPr lang="de-DE" dirty="0" err="1"/>
              <a:t>hosts</a:t>
            </a:r>
            <a:r>
              <a:rPr lang="de-DE" dirty="0"/>
              <a:t> </a:t>
            </a:r>
            <a:r>
              <a:rPr lang="de-DE" dirty="0" err="1"/>
              <a:t>file</a:t>
            </a:r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BC4F616-8F2B-4E13-942A-CB1BB4A225DE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43CE7C91-877C-44D6-9892-950E5E0626D1}" type="datetime1">
              <a:rPr lang="de-DE" smtClean="0"/>
              <a:t>16.03.2021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F535348-6E8B-484C-B641-B1BF14A4ED6C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© MHP Management- und IT-Beratung GmbH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2F93CCE-E418-49A5-91CE-7A8CB81381EA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13EAE64-7865-4866-AD64-23462DCF8EC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5FE00A5B-7EC6-4556-93EC-537B3153A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etup </a:t>
            </a:r>
            <a:r>
              <a:rPr lang="de-DE" dirty="0" err="1"/>
              <a:t>Dev</a:t>
            </a:r>
            <a:r>
              <a:rPr lang="de-DE" dirty="0"/>
              <a:t> Environment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AAD36CCC-68BD-487B-8E6D-FF1D33976304}"/>
              </a:ext>
            </a:extLst>
          </p:cNvPr>
          <p:cNvSpPr/>
          <p:nvPr/>
        </p:nvSpPr>
        <p:spPr bwMode="gray">
          <a:xfrm>
            <a:off x="9408368" y="4509120"/>
            <a:ext cx="1368152" cy="100811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r>
              <a:rPr lang="de-DE" sz="1400" b="1" dirty="0" err="1">
                <a:solidFill>
                  <a:schemeClr val="bg1"/>
                </a:solidFill>
              </a:rPr>
              <a:t>kubernetes</a:t>
            </a: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9290276C-5BD3-4D85-AFC0-4480FC0B4FBA}"/>
              </a:ext>
            </a:extLst>
          </p:cNvPr>
          <p:cNvSpPr/>
          <p:nvPr/>
        </p:nvSpPr>
        <p:spPr bwMode="gray">
          <a:xfrm>
            <a:off x="9408368" y="2298982"/>
            <a:ext cx="1368152" cy="100811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r>
              <a:rPr lang="de-DE" sz="1400" b="1" dirty="0" err="1">
                <a:solidFill>
                  <a:schemeClr val="bg1"/>
                </a:solidFill>
              </a:rPr>
              <a:t>docker</a:t>
            </a:r>
            <a:endParaRPr lang="de-DE" sz="1400" b="1" dirty="0">
              <a:solidFill>
                <a:schemeClr val="bg1"/>
              </a:solidFill>
            </a:endParaRP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4F2E5A91-92BD-42FA-A414-C9A2B6869CAB}"/>
              </a:ext>
            </a:extLst>
          </p:cNvPr>
          <p:cNvCxnSpPr>
            <a:endCxn id="10" idx="2"/>
          </p:cNvCxnSpPr>
          <p:nvPr/>
        </p:nvCxnSpPr>
        <p:spPr bwMode="gray">
          <a:xfrm flipV="1">
            <a:off x="10092444" y="3307094"/>
            <a:ext cx="0" cy="1202026"/>
          </a:xfrm>
          <a:prstGeom prst="straightConnector1">
            <a:avLst/>
          </a:prstGeom>
          <a:ln w="9525">
            <a:solidFill>
              <a:schemeClr val="tx2"/>
            </a:solidFill>
            <a:miter lim="800000"/>
            <a:headEnd type="none"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feld 12">
            <a:extLst>
              <a:ext uri="{FF2B5EF4-FFF2-40B4-BE49-F238E27FC236}">
                <a16:creationId xmlns:a16="http://schemas.microsoft.com/office/drawing/2014/main" id="{6C38403F-FE6E-44E1-BFC3-2093125B85BB}"/>
              </a:ext>
            </a:extLst>
          </p:cNvPr>
          <p:cNvSpPr txBox="1"/>
          <p:nvPr/>
        </p:nvSpPr>
        <p:spPr bwMode="gray">
          <a:xfrm>
            <a:off x="10106998" y="3622612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</a:pPr>
            <a:r>
              <a:rPr lang="de-DE" sz="1400" dirty="0" err="1">
                <a:solidFill>
                  <a:schemeClr val="tx2"/>
                </a:solidFill>
              </a:rPr>
              <a:t>use</a:t>
            </a:r>
            <a:r>
              <a:rPr lang="de-DE" sz="1400" dirty="0">
                <a:solidFill>
                  <a:schemeClr val="tx2"/>
                </a:solidFill>
              </a:rPr>
              <a:t> </a:t>
            </a:r>
            <a:r>
              <a:rPr lang="de-DE" sz="1400" dirty="0" err="1">
                <a:solidFill>
                  <a:schemeClr val="tx2"/>
                </a:solidFill>
              </a:rPr>
              <a:t>local</a:t>
            </a:r>
            <a:r>
              <a:rPr lang="de-DE" sz="1400" dirty="0">
                <a:solidFill>
                  <a:schemeClr val="tx2"/>
                </a:solidFill>
              </a:rPr>
              <a:t> </a:t>
            </a:r>
          </a:p>
          <a:p>
            <a:pPr algn="l"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</a:pPr>
            <a:r>
              <a:rPr lang="de-DE" sz="1400" dirty="0" err="1">
                <a:solidFill>
                  <a:schemeClr val="tx2"/>
                </a:solidFill>
              </a:rPr>
              <a:t>docker</a:t>
            </a:r>
            <a:r>
              <a:rPr lang="de-DE" sz="1400" dirty="0">
                <a:solidFill>
                  <a:schemeClr val="tx2"/>
                </a:solidFill>
              </a:rPr>
              <a:t> </a:t>
            </a:r>
            <a:r>
              <a:rPr lang="de-DE" sz="1400" dirty="0" err="1">
                <a:solidFill>
                  <a:schemeClr val="tx2"/>
                </a:solidFill>
              </a:rPr>
              <a:t>images</a:t>
            </a:r>
            <a:endParaRPr lang="de-DE" sz="1400" dirty="0">
              <a:solidFill>
                <a:schemeClr val="tx2"/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BF6EA866-9CD2-4A91-80C4-50237ACD9B98}"/>
              </a:ext>
            </a:extLst>
          </p:cNvPr>
          <p:cNvSpPr/>
          <p:nvPr/>
        </p:nvSpPr>
        <p:spPr bwMode="gray">
          <a:xfrm>
            <a:off x="6312024" y="3369169"/>
            <a:ext cx="1368152" cy="100811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r>
              <a:rPr lang="de-DE" sz="1400" b="1" dirty="0" err="1">
                <a:solidFill>
                  <a:schemeClr val="bg1"/>
                </a:solidFill>
              </a:rPr>
              <a:t>VSCode</a:t>
            </a:r>
            <a:endParaRPr lang="de-DE" sz="1400" b="1" dirty="0">
              <a:solidFill>
                <a:schemeClr val="bg1"/>
              </a:solidFill>
            </a:endParaRPr>
          </a:p>
          <a:p>
            <a:pPr algn="ctr">
              <a:lnSpc>
                <a:spcPct val="80000"/>
              </a:lnSpc>
            </a:pPr>
            <a:r>
              <a:rPr lang="de-DE" sz="1400" b="1" dirty="0">
                <a:solidFill>
                  <a:schemeClr val="bg1"/>
                </a:solidFill>
              </a:rPr>
              <a:t>Terminal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51FC3294-A2A1-4BDF-B6CE-D865961E602C}"/>
              </a:ext>
            </a:extLst>
          </p:cNvPr>
          <p:cNvCxnSpPr>
            <a:cxnSpLocks/>
            <a:stCxn id="14" idx="3"/>
            <a:endCxn id="10" idx="1"/>
          </p:cNvCxnSpPr>
          <p:nvPr/>
        </p:nvCxnSpPr>
        <p:spPr bwMode="gray">
          <a:xfrm flipV="1">
            <a:off x="7680176" y="2803038"/>
            <a:ext cx="1728192" cy="1070187"/>
          </a:xfrm>
          <a:prstGeom prst="curvedConnector3">
            <a:avLst>
              <a:gd name="adj1" fmla="val 50000"/>
            </a:avLst>
          </a:prstGeom>
          <a:ln w="9525">
            <a:solidFill>
              <a:schemeClr val="tx2"/>
            </a:solidFill>
            <a:miter lim="800000"/>
            <a:headEnd type="none"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1CF6D87D-FE8C-4B58-86E4-18253432FEEA}"/>
              </a:ext>
            </a:extLst>
          </p:cNvPr>
          <p:cNvSpPr txBox="1"/>
          <p:nvPr/>
        </p:nvSpPr>
        <p:spPr bwMode="gray">
          <a:xfrm>
            <a:off x="8040216" y="3115617"/>
            <a:ext cx="914400" cy="31338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</a:pPr>
            <a:r>
              <a:rPr lang="de-DE" sz="1400" dirty="0" err="1">
                <a:solidFill>
                  <a:schemeClr val="tx2"/>
                </a:solidFill>
              </a:rPr>
              <a:t>docker</a:t>
            </a:r>
            <a:r>
              <a:rPr lang="de-DE" sz="1400" dirty="0">
                <a:solidFill>
                  <a:schemeClr val="tx2"/>
                </a:solidFill>
              </a:rPr>
              <a:t> </a:t>
            </a:r>
            <a:r>
              <a:rPr lang="de-DE" sz="1400" dirty="0" err="1">
                <a:solidFill>
                  <a:schemeClr val="tx2"/>
                </a:solidFill>
              </a:rPr>
              <a:t>build</a:t>
            </a:r>
            <a:endParaRPr lang="de-DE" sz="1400" dirty="0">
              <a:solidFill>
                <a:schemeClr val="tx2"/>
              </a:solidFill>
            </a:endParaRPr>
          </a:p>
        </p:txBody>
      </p:sp>
      <p:cxnSp>
        <p:nvCxnSpPr>
          <p:cNvPr id="19" name="Gerade Verbindung mit Pfeil 14">
            <a:extLst>
              <a:ext uri="{FF2B5EF4-FFF2-40B4-BE49-F238E27FC236}">
                <a16:creationId xmlns:a16="http://schemas.microsoft.com/office/drawing/2014/main" id="{CD112CD9-A871-4538-B714-BB9131178978}"/>
              </a:ext>
            </a:extLst>
          </p:cNvPr>
          <p:cNvCxnSpPr>
            <a:cxnSpLocks/>
            <a:stCxn id="14" idx="3"/>
            <a:endCxn id="8" idx="1"/>
          </p:cNvCxnSpPr>
          <p:nvPr/>
        </p:nvCxnSpPr>
        <p:spPr bwMode="gray">
          <a:xfrm>
            <a:off x="7680176" y="3873225"/>
            <a:ext cx="1728192" cy="1139951"/>
          </a:xfrm>
          <a:prstGeom prst="curvedConnector3">
            <a:avLst>
              <a:gd name="adj1" fmla="val 50000"/>
            </a:avLst>
          </a:prstGeom>
          <a:ln w="9525">
            <a:solidFill>
              <a:schemeClr val="tx2"/>
            </a:solidFill>
            <a:miter lim="800000"/>
            <a:headEnd type="none"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Textfeld 21">
            <a:extLst>
              <a:ext uri="{FF2B5EF4-FFF2-40B4-BE49-F238E27FC236}">
                <a16:creationId xmlns:a16="http://schemas.microsoft.com/office/drawing/2014/main" id="{128D219D-459D-486F-9DBC-A2427A6821E4}"/>
              </a:ext>
            </a:extLst>
          </p:cNvPr>
          <p:cNvSpPr txBox="1"/>
          <p:nvPr/>
        </p:nvSpPr>
        <p:spPr bwMode="gray">
          <a:xfrm>
            <a:off x="8133928" y="4220590"/>
            <a:ext cx="914400" cy="31338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</a:pPr>
            <a:r>
              <a:rPr lang="de-DE" sz="1400" dirty="0" err="1">
                <a:solidFill>
                  <a:schemeClr val="tx2"/>
                </a:solidFill>
              </a:rPr>
              <a:t>helm</a:t>
            </a:r>
            <a:r>
              <a:rPr lang="de-DE" sz="1400" dirty="0">
                <a:solidFill>
                  <a:schemeClr val="tx2"/>
                </a:solidFill>
              </a:rPr>
              <a:t> </a:t>
            </a:r>
            <a:r>
              <a:rPr lang="de-DE" sz="1400" dirty="0" err="1">
                <a:solidFill>
                  <a:schemeClr val="tx2"/>
                </a:solidFill>
              </a:rPr>
              <a:t>install</a:t>
            </a:r>
            <a:endParaRPr lang="de-DE" sz="1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0532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C80B1C29-60A2-4043-AD89-450961D2777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pPr lvl="1"/>
            <a:r>
              <a:rPr lang="de-DE" dirty="0" err="1"/>
              <a:t>basic</a:t>
            </a:r>
            <a:r>
              <a:rPr lang="de-DE" dirty="0"/>
              <a:t> </a:t>
            </a:r>
            <a:r>
              <a:rPr lang="de-DE" dirty="0" err="1"/>
              <a:t>app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health</a:t>
            </a:r>
            <a:r>
              <a:rPr lang="de-DE" dirty="0"/>
              <a:t> </a:t>
            </a:r>
            <a:r>
              <a:rPr lang="de-DE" dirty="0" err="1"/>
              <a:t>endpoint</a:t>
            </a:r>
            <a:endParaRPr lang="de-DE" dirty="0"/>
          </a:p>
          <a:p>
            <a:pPr lvl="1"/>
            <a:r>
              <a:rPr lang="de-DE" dirty="0" err="1"/>
              <a:t>dockerfile</a:t>
            </a:r>
            <a:endParaRPr lang="de-DE" dirty="0"/>
          </a:p>
          <a:p>
            <a:pPr lvl="1"/>
            <a:r>
              <a:rPr lang="de-DE" dirty="0" err="1"/>
              <a:t>helm</a:t>
            </a:r>
            <a:r>
              <a:rPr lang="de-DE" dirty="0"/>
              <a:t> </a:t>
            </a:r>
            <a:r>
              <a:rPr lang="de-DE" dirty="0" err="1"/>
              <a:t>chart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ingress</a:t>
            </a:r>
            <a:r>
              <a:rPr lang="de-DE" dirty="0"/>
              <a:t> and </a:t>
            </a:r>
            <a:r>
              <a:rPr lang="de-DE" dirty="0" err="1"/>
              <a:t>service</a:t>
            </a:r>
            <a:endParaRPr lang="de-DE" dirty="0"/>
          </a:p>
          <a:p>
            <a:pPr lvl="1"/>
            <a:r>
              <a:rPr lang="de-DE" dirty="0" err="1"/>
              <a:t>run</a:t>
            </a:r>
            <a:r>
              <a:rPr lang="de-DE" dirty="0"/>
              <a:t> </a:t>
            </a:r>
            <a:r>
              <a:rPr lang="de-DE" dirty="0" err="1"/>
              <a:t>chart</a:t>
            </a:r>
            <a:r>
              <a:rPr lang="de-DE" dirty="0"/>
              <a:t> in </a:t>
            </a:r>
            <a:r>
              <a:rPr lang="de-DE" dirty="0" err="1"/>
              <a:t>kubernetes</a:t>
            </a:r>
            <a:endParaRPr lang="de-DE" dirty="0"/>
          </a:p>
          <a:p>
            <a:pPr lvl="1"/>
            <a:r>
              <a:rPr lang="de-DE" dirty="0" err="1"/>
              <a:t>integrate</a:t>
            </a:r>
            <a:r>
              <a:rPr lang="de-DE" dirty="0"/>
              <a:t> </a:t>
            </a:r>
            <a:r>
              <a:rPr lang="de-DE" dirty="0" err="1"/>
              <a:t>metrics</a:t>
            </a:r>
            <a:r>
              <a:rPr lang="de-DE" dirty="0"/>
              <a:t> and </a:t>
            </a:r>
            <a:r>
              <a:rPr lang="de-DE" dirty="0" err="1"/>
              <a:t>service</a:t>
            </a:r>
            <a:r>
              <a:rPr lang="de-DE" dirty="0"/>
              <a:t> monitor</a:t>
            </a:r>
          </a:p>
          <a:p>
            <a:pPr lvl="1"/>
            <a:r>
              <a:rPr lang="de-DE" dirty="0" err="1"/>
              <a:t>setup</a:t>
            </a:r>
            <a:r>
              <a:rPr lang="de-DE" dirty="0"/>
              <a:t> </a:t>
            </a:r>
            <a:r>
              <a:rPr lang="de-DE" dirty="0" err="1"/>
              <a:t>database</a:t>
            </a:r>
            <a:r>
              <a:rPr lang="de-DE" dirty="0"/>
              <a:t> </a:t>
            </a:r>
          </a:p>
          <a:p>
            <a:pPr lvl="2"/>
            <a:r>
              <a:rPr lang="de-DE" dirty="0" err="1"/>
              <a:t>connection</a:t>
            </a:r>
            <a:endParaRPr lang="de-DE" dirty="0"/>
          </a:p>
          <a:p>
            <a:pPr lvl="2"/>
            <a:r>
              <a:rPr lang="de-DE" dirty="0" err="1"/>
              <a:t>migrations</a:t>
            </a:r>
            <a:endParaRPr lang="de-DE" dirty="0"/>
          </a:p>
          <a:p>
            <a:pPr lvl="2"/>
            <a:r>
              <a:rPr lang="de-DE" dirty="0" err="1"/>
              <a:t>repo</a:t>
            </a:r>
            <a:r>
              <a:rPr lang="de-DE" dirty="0"/>
              <a:t> </a:t>
            </a:r>
            <a:r>
              <a:rPr lang="de-DE" dirty="0" err="1"/>
              <a:t>functions</a:t>
            </a:r>
            <a:endParaRPr lang="de-DE" dirty="0"/>
          </a:p>
          <a:p>
            <a:pPr lvl="2"/>
            <a:r>
              <a:rPr lang="de-DE" dirty="0"/>
              <a:t>REST API</a:t>
            </a:r>
          </a:p>
          <a:p>
            <a:pPr lvl="1"/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98A792D-E246-415F-B868-3E74B89FEDDE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43CE7C91-877C-44D6-9892-950E5E0626D1}" type="datetime1">
              <a:rPr lang="de-DE" smtClean="0"/>
              <a:t>16.03.2021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49D8FDB-C683-41D5-BF3D-78C3D12389AD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© MHP Management- und IT-Beratung GmbH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8DF2368-8159-4940-8760-3A45761A57A3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787857F-7B50-40BC-B1F4-EB7A03C7FF8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95BC36C-75BA-4AF5-ADF4-EAB7102C11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mplement </a:t>
            </a:r>
            <a:r>
              <a:rPr lang="de-DE" dirty="0" err="1"/>
              <a:t>servic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56071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Untertitel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CC3902-11E9-4604-A25A-87DD319CFE3C}" type="datetime1">
              <a:rPr lang="de-DE" smtClean="0"/>
              <a:t>16.03.2021</a:t>
            </a:fld>
            <a:endParaRPr lang="en-US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9432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>
            <a:extLst>
              <a:ext uri="{FF2B5EF4-FFF2-40B4-BE49-F238E27FC236}">
                <a16:creationId xmlns:a16="http://schemas.microsoft.com/office/drawing/2014/main" id="{96D156A2-8FD4-4FDF-B113-DBCB20D414A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BDF064-C1FF-4E75-B351-6E9EC2C551E0}" type="datetime1">
              <a:rPr lang="de-DE" smtClean="0"/>
              <a:t>16.03.2021</a:t>
            </a:fld>
            <a:endParaRPr lang="en-US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3454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platzhalter 19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/>
              <a:t>Erste Textebene für Fließtext: Segoe UI, 14pt</a:t>
            </a:r>
          </a:p>
          <a:p>
            <a:pPr lvl="1"/>
            <a:r>
              <a:rPr lang="de-DE" dirty="0"/>
              <a:t>Zweite Textebene für </a:t>
            </a:r>
            <a:r>
              <a:rPr lang="de-DE" dirty="0" err="1"/>
              <a:t>Bulletpoints</a:t>
            </a:r>
            <a:r>
              <a:rPr lang="de-DE" dirty="0"/>
              <a:t>: Segoe UI, 14pt</a:t>
            </a:r>
          </a:p>
          <a:p>
            <a:pPr lvl="2"/>
            <a:r>
              <a:rPr lang="de-DE" dirty="0"/>
              <a:t>Dritte Textebene für </a:t>
            </a:r>
            <a:r>
              <a:rPr lang="de-DE" dirty="0" err="1"/>
              <a:t>Bulletpoints</a:t>
            </a:r>
            <a:r>
              <a:rPr lang="de-DE" dirty="0"/>
              <a:t> zweiter ebene: Segoe UI, 14pt</a:t>
            </a:r>
          </a:p>
          <a:p>
            <a:pPr lvl="3"/>
            <a:r>
              <a:rPr lang="de-DE" dirty="0"/>
              <a:t>Vierte Textebene für </a:t>
            </a:r>
            <a:r>
              <a:rPr lang="de-DE" dirty="0" err="1"/>
              <a:t>Bulletpoints</a:t>
            </a:r>
            <a:r>
              <a:rPr lang="de-DE" dirty="0"/>
              <a:t> dritter Ebene: Segoe UI, 12pt</a:t>
            </a:r>
          </a:p>
          <a:p>
            <a:pPr lvl="4"/>
            <a:r>
              <a:rPr lang="de-DE" dirty="0"/>
              <a:t>Fünfte Textebene für Aufzählungen: Segoe UI, 14pt</a:t>
            </a:r>
          </a:p>
          <a:p>
            <a:pPr lvl="5"/>
            <a:r>
              <a:rPr lang="de-DE" dirty="0"/>
              <a:t>Sechste Textebene für Aufzählungen in zweiter Ebene: Segoe UI, 14pt</a:t>
            </a:r>
          </a:p>
          <a:p>
            <a:pPr lvl="7"/>
            <a:r>
              <a:rPr lang="de-DE" dirty="0"/>
              <a:t>Siebte Textebene für Quellenangaben/Anmerkungen: Segoe UI, 12pt, hellgrau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407988" y="404814"/>
            <a:ext cx="7777162" cy="792162"/>
          </a:xfrm>
        </p:spPr>
        <p:txBody>
          <a:bodyPr/>
          <a:lstStyle/>
          <a:p>
            <a:r>
              <a:rPr lang="de-DE"/>
              <a:t>Erklärung der Textebenen, </a:t>
            </a:r>
            <a:br>
              <a:rPr lang="de-DE"/>
            </a:br>
            <a:r>
              <a:rPr lang="de-DE"/>
              <a:t>Segoe UI, 20pt, blau</a:t>
            </a:r>
            <a:endParaRPr lang="de-DE" dirty="0"/>
          </a:p>
        </p:txBody>
      </p:sp>
      <p:sp>
        <p:nvSpPr>
          <p:cNvPr id="54" name="Datumsplatzhalter 53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C058629E-FACD-49DF-B267-1FCF3764FFF9}" type="datetime1">
              <a:rPr lang="de-DE" smtClean="0"/>
              <a:pPr/>
              <a:t>16.03.2021</a:t>
            </a:fld>
            <a:endParaRPr lang="en-US" dirty="0"/>
          </a:p>
        </p:txBody>
      </p:sp>
      <p:sp>
        <p:nvSpPr>
          <p:cNvPr id="55" name="Fußzeilenplatzhalter 54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© MHP Management- und IT-Beratung GmbH</a:t>
            </a:r>
            <a:endParaRPr lang="en-US" dirty="0"/>
          </a:p>
        </p:txBody>
      </p:sp>
      <p:sp>
        <p:nvSpPr>
          <p:cNvPr id="56" name="Foliennummernplatzhalter 55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de-DE"/>
              <a:t>Kapitelüberschrift, Segoe UI, 12pt, grau</a:t>
            </a:r>
            <a:endParaRPr lang="de-DE" dirty="0"/>
          </a:p>
        </p:txBody>
      </p:sp>
      <p:sp>
        <p:nvSpPr>
          <p:cNvPr id="12" name="Textplatzhalter 19"/>
          <p:cNvSpPr txBox="1">
            <a:spLocks/>
          </p:cNvSpPr>
          <p:nvPr/>
        </p:nvSpPr>
        <p:spPr bwMode="gray">
          <a:xfrm>
            <a:off x="407194" y="4047359"/>
            <a:ext cx="3600450" cy="1824071"/>
          </a:xfrm>
          <a:prstGeom prst="rect">
            <a:avLst/>
          </a:prstGeom>
        </p:spPr>
        <p:txBody>
          <a:bodyPr lIns="0" tIns="0" rIns="0" bIns="0"/>
          <a:lstStyle>
            <a:lvl1pPr algn="l" defTabSz="936625" rtl="0" eaLnBrk="1" fontAlgn="base" hangingPunct="1"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7" indent="0" algn="l" defTabSz="936625" rtl="0" eaLnBrk="1" fontAlgn="base" hangingPunct="1">
              <a:spcBef>
                <a:spcPts val="600"/>
              </a:spcBef>
              <a:spcAft>
                <a:spcPts val="600"/>
              </a:spcAft>
              <a:buFont typeface="Wingdings" pitchFamily="2" charset="2"/>
              <a:buNone/>
              <a:defRPr sz="1400" b="1">
                <a:solidFill>
                  <a:schemeClr val="tx1"/>
                </a:solidFill>
                <a:latin typeface="+mn-lt"/>
              </a:defRPr>
            </a:lvl2pPr>
            <a:lvl3pPr marL="266700" indent="-266700" algn="l" defTabSz="936625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►"/>
              <a:tabLst/>
              <a:defRPr sz="1400" b="1" cap="all" baseline="0">
                <a:solidFill>
                  <a:schemeClr val="accent2"/>
                </a:solidFill>
                <a:latin typeface="+mn-lt"/>
              </a:defRPr>
            </a:lvl3pPr>
            <a:lvl4pPr marL="447675" indent="-180975" algn="l" defTabSz="936625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Char char="●"/>
              <a:defRPr sz="1400">
                <a:solidFill>
                  <a:schemeClr val="tx1"/>
                </a:solidFill>
                <a:latin typeface="+mn-lt"/>
                <a:sym typeface="Wingdings" pitchFamily="2" charset="2"/>
              </a:defRPr>
            </a:lvl4pPr>
            <a:lvl5pPr marL="628650" indent="-180975" algn="l" defTabSz="936625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266700" indent="-266700" algn="l" defTabSz="936625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+mj-lt"/>
              <a:buAutoNum type="arabicPeriod"/>
              <a:tabLst/>
              <a:defRPr sz="1400" b="1" cap="all" baseline="0">
                <a:solidFill>
                  <a:schemeClr val="accent2"/>
                </a:solidFill>
                <a:latin typeface="+mn-lt"/>
              </a:defRPr>
            </a:lvl6pPr>
            <a:lvl7pPr marL="447675" indent="-180975" algn="l" defTabSz="936625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Font typeface="+mj-lt"/>
              <a:buAutoNum type="arabicPeriod"/>
              <a:defRPr sz="1400" baseline="0">
                <a:solidFill>
                  <a:schemeClr val="tx1"/>
                </a:solidFill>
                <a:latin typeface="+mn-lt"/>
              </a:defRPr>
            </a:lvl7pPr>
            <a:lvl8pPr marL="628650" indent="-177800" algn="l" defTabSz="936625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Font typeface="+mj-lt"/>
              <a:buAutoNum type="arabicPeriod"/>
              <a:defRPr sz="1400">
                <a:solidFill>
                  <a:schemeClr val="tx1"/>
                </a:solidFill>
                <a:latin typeface="+mn-lt"/>
              </a:defRPr>
            </a:lvl8pPr>
            <a:lvl9pPr marL="0" indent="0" algn="l" defTabSz="936625" rtl="0" eaLnBrk="1" fontAlgn="base" hangingPunct="1"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  <a:defRPr sz="1000">
                <a:solidFill>
                  <a:schemeClr val="accent6"/>
                </a:solidFill>
                <a:latin typeface="+mn-lt"/>
              </a:defRPr>
            </a:lvl9pPr>
          </a:lstStyle>
          <a:p>
            <a:pPr lvl="1"/>
            <a:r>
              <a:rPr lang="de-DE" noProof="1">
                <a:solidFill>
                  <a:schemeClr val="accent1"/>
                </a:solidFill>
              </a:rPr>
              <a:t>Information</a:t>
            </a:r>
            <a:br>
              <a:rPr lang="de-DE" cap="all" noProof="1">
                <a:solidFill>
                  <a:schemeClr val="tx2"/>
                </a:solidFill>
              </a:rPr>
            </a:br>
            <a:r>
              <a:rPr lang="de-DE" b="0" kern="0" noProof="1">
                <a:solidFill>
                  <a:schemeClr val="tx2"/>
                </a:solidFill>
              </a:rPr>
              <a:t>Um die Textebenen zu nutzen, verwenden Sie die „Listenebene erhöhen“ oder „Listenebene verringern“ Schaltflächen in der Startleiste:</a:t>
            </a:r>
          </a:p>
          <a:p>
            <a:r>
              <a:rPr lang="de-DE" kern="0" noProof="1">
                <a:solidFill>
                  <a:schemeClr val="tx2"/>
                </a:solidFill>
              </a:rPr>
              <a:t>oder Ihre Tastatur:</a:t>
            </a:r>
            <a:br>
              <a:rPr lang="de-DE" kern="0" noProof="1">
                <a:solidFill>
                  <a:schemeClr val="tx2"/>
                </a:solidFill>
              </a:rPr>
            </a:br>
            <a:r>
              <a:rPr lang="de-DE" kern="0" noProof="1">
                <a:solidFill>
                  <a:schemeClr val="tx2"/>
                </a:solidFill>
              </a:rPr>
              <a:t>ALT+Shift+Links oder Rechts.</a:t>
            </a:r>
          </a:p>
        </p:txBody>
      </p:sp>
      <p:pic>
        <p:nvPicPr>
          <p:cNvPr id="13" name="Picture 19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677092" y="5073610"/>
            <a:ext cx="522703" cy="2394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Textplatzhalter 19"/>
          <p:cNvSpPr txBox="1">
            <a:spLocks/>
          </p:cNvSpPr>
          <p:nvPr/>
        </p:nvSpPr>
        <p:spPr bwMode="gray">
          <a:xfrm>
            <a:off x="4294982" y="4047359"/>
            <a:ext cx="3600450" cy="1824071"/>
          </a:xfrm>
          <a:prstGeom prst="rect">
            <a:avLst/>
          </a:prstGeom>
        </p:spPr>
        <p:txBody>
          <a:bodyPr lIns="0" tIns="0" rIns="0" bIns="0"/>
          <a:lstStyle>
            <a:lvl1pPr algn="l" defTabSz="936625" rtl="0" eaLnBrk="1" fontAlgn="base" hangingPunct="1"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7" indent="0" algn="l" defTabSz="936625" rtl="0" eaLnBrk="1" fontAlgn="base" hangingPunct="1">
              <a:spcBef>
                <a:spcPts val="600"/>
              </a:spcBef>
              <a:spcAft>
                <a:spcPts val="600"/>
              </a:spcAft>
              <a:buFont typeface="Wingdings" pitchFamily="2" charset="2"/>
              <a:buNone/>
              <a:defRPr sz="1400" b="1">
                <a:solidFill>
                  <a:schemeClr val="tx1"/>
                </a:solidFill>
                <a:latin typeface="+mn-lt"/>
              </a:defRPr>
            </a:lvl2pPr>
            <a:lvl3pPr marL="266700" indent="-266700" algn="l" defTabSz="936625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►"/>
              <a:tabLst/>
              <a:defRPr sz="1400" b="1" cap="all" baseline="0">
                <a:solidFill>
                  <a:schemeClr val="accent2"/>
                </a:solidFill>
                <a:latin typeface="+mn-lt"/>
              </a:defRPr>
            </a:lvl3pPr>
            <a:lvl4pPr marL="447675" indent="-180975" algn="l" defTabSz="936625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Char char="●"/>
              <a:defRPr sz="1400">
                <a:solidFill>
                  <a:schemeClr val="tx1"/>
                </a:solidFill>
                <a:latin typeface="+mn-lt"/>
                <a:sym typeface="Wingdings" pitchFamily="2" charset="2"/>
              </a:defRPr>
            </a:lvl4pPr>
            <a:lvl5pPr marL="628650" indent="-180975" algn="l" defTabSz="936625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</a:defRPr>
            </a:lvl5pPr>
            <a:lvl6pPr marL="266700" indent="-266700" algn="l" defTabSz="936625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+mj-lt"/>
              <a:buAutoNum type="arabicPeriod"/>
              <a:tabLst/>
              <a:defRPr sz="1400" b="1" cap="all" baseline="0">
                <a:solidFill>
                  <a:schemeClr val="accent2"/>
                </a:solidFill>
                <a:latin typeface="+mn-lt"/>
              </a:defRPr>
            </a:lvl6pPr>
            <a:lvl7pPr marL="447675" indent="-180975" algn="l" defTabSz="936625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Font typeface="+mj-lt"/>
              <a:buAutoNum type="arabicPeriod"/>
              <a:defRPr sz="1400" baseline="0">
                <a:solidFill>
                  <a:schemeClr val="tx1"/>
                </a:solidFill>
                <a:latin typeface="+mn-lt"/>
              </a:defRPr>
            </a:lvl7pPr>
            <a:lvl8pPr marL="628650" indent="-177800" algn="l" defTabSz="936625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Font typeface="+mj-lt"/>
              <a:buAutoNum type="arabicPeriod"/>
              <a:defRPr sz="1400">
                <a:solidFill>
                  <a:schemeClr val="tx1"/>
                </a:solidFill>
                <a:latin typeface="+mn-lt"/>
              </a:defRPr>
            </a:lvl8pPr>
            <a:lvl9pPr marL="0" indent="0" algn="l" defTabSz="936625" rtl="0" eaLnBrk="1" fontAlgn="base" hangingPunct="1"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  <a:defRPr sz="1000">
                <a:solidFill>
                  <a:schemeClr val="accent6"/>
                </a:solidFill>
                <a:latin typeface="+mn-lt"/>
              </a:defRPr>
            </a:lvl9pPr>
          </a:lstStyle>
          <a:p>
            <a:pPr lvl="1"/>
            <a:r>
              <a:rPr lang="de-DE" noProof="1">
                <a:solidFill>
                  <a:schemeClr val="accent1"/>
                </a:solidFill>
              </a:rPr>
              <a:t>Achtung</a:t>
            </a:r>
            <a:br>
              <a:rPr lang="de-DE" cap="all" noProof="1">
                <a:solidFill>
                  <a:schemeClr val="tx2"/>
                </a:solidFill>
              </a:rPr>
            </a:br>
            <a:r>
              <a:rPr lang="de-DE" b="0" kern="0" noProof="1">
                <a:solidFill>
                  <a:schemeClr val="tx2"/>
                </a:solidFill>
              </a:rPr>
              <a:t>Um ein Aufzählungszeichen zu generieren, verwenden Sie bitte ausschließlich die vordefinierten Listenebenen und kreieren Sie diese nicht manuell über die Symbolleiste.</a:t>
            </a:r>
          </a:p>
        </p:txBody>
      </p:sp>
      <p:cxnSp>
        <p:nvCxnSpPr>
          <p:cNvPr id="9" name="Gerade Verbindung 8"/>
          <p:cNvCxnSpPr/>
          <p:nvPr/>
        </p:nvCxnSpPr>
        <p:spPr>
          <a:xfrm>
            <a:off x="407195" y="3951344"/>
            <a:ext cx="8638869" cy="0"/>
          </a:xfrm>
          <a:prstGeom prst="line">
            <a:avLst/>
          </a:prstGeom>
          <a:ln w="9525">
            <a:solidFill>
              <a:schemeClr val="bg2"/>
            </a:solidFill>
            <a:miter lim="800000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93113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/>
        </p:nvSpPr>
        <p:spPr bwMode="gray">
          <a:xfrm>
            <a:off x="406401" y="1484313"/>
            <a:ext cx="3598864" cy="216058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66" tIns="119960" rIns="95966" bIns="9596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endParaRPr lang="de-DE" b="1" u="sng" dirty="0" err="1">
              <a:solidFill>
                <a:schemeClr val="bg1"/>
              </a:solidFill>
            </a:endParaRPr>
          </a:p>
        </p:txBody>
      </p:sp>
      <p:sp>
        <p:nvSpPr>
          <p:cNvPr id="51" name="Textplatzhalter 1027"/>
          <p:cNvSpPr>
            <a:spLocks noGrp="1"/>
          </p:cNvSpPr>
          <p:nvPr>
            <p:ph type="body" sz="quarter" idx="22"/>
          </p:nvPr>
        </p:nvSpPr>
        <p:spPr>
          <a:xfrm>
            <a:off x="407987" y="3933825"/>
            <a:ext cx="3600451" cy="2159000"/>
          </a:xfrm>
        </p:spPr>
        <p:txBody>
          <a:bodyPr/>
          <a:lstStyle/>
          <a:p>
            <a:r>
              <a:rPr lang="de-DE" b="1" dirty="0">
                <a:solidFill>
                  <a:schemeClr val="accent1"/>
                </a:solidFill>
              </a:rPr>
              <a:t>Layouts</a:t>
            </a:r>
          </a:p>
          <a:p>
            <a:r>
              <a:rPr lang="de-DE" dirty="0"/>
              <a:t>Sie können zwischen 18 </a:t>
            </a:r>
            <a:br>
              <a:rPr lang="de-DE" dirty="0"/>
            </a:br>
            <a:r>
              <a:rPr lang="de-DE" dirty="0"/>
              <a:t>verschiedenen Layouts wählen.</a:t>
            </a:r>
          </a:p>
          <a:p>
            <a:r>
              <a:rPr lang="de-DE" dirty="0"/>
              <a:t>Zum Ändern gehen Sie auf </a:t>
            </a:r>
            <a:br>
              <a:rPr lang="de-DE" dirty="0"/>
            </a:br>
            <a:r>
              <a:rPr lang="de-DE" dirty="0"/>
              <a:t>Start &gt; Layout &gt; und wählen </a:t>
            </a:r>
            <a:br>
              <a:rPr lang="de-DE" dirty="0"/>
            </a:br>
            <a:r>
              <a:rPr lang="de-DE" dirty="0"/>
              <a:t>das gewünschte aus.</a:t>
            </a:r>
          </a:p>
          <a:p>
            <a:endParaRPr lang="de-DE" dirty="0"/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407988" y="404814"/>
            <a:ext cx="7777162" cy="792162"/>
          </a:xfrm>
        </p:spPr>
        <p:txBody>
          <a:bodyPr/>
          <a:lstStyle/>
          <a:p>
            <a:r>
              <a:rPr lang="de-DE"/>
              <a:t>Erklärung </a:t>
            </a:r>
            <a:br>
              <a:rPr lang="de-DE"/>
            </a:br>
            <a:r>
              <a:rPr lang="de-DE"/>
              <a:t>der Layouts</a:t>
            </a:r>
            <a:endParaRPr lang="de-DE" dirty="0"/>
          </a:p>
        </p:txBody>
      </p:sp>
      <p:sp>
        <p:nvSpPr>
          <p:cNvPr id="36" name="Datumsplatzhalter 35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5B4F5383-CA52-4F6E-85CA-80EDFF909120}" type="datetime1">
              <a:rPr lang="de-DE" smtClean="0"/>
              <a:pPr/>
              <a:t>16.03.2021</a:t>
            </a:fld>
            <a:endParaRPr lang="en-US" dirty="0"/>
          </a:p>
        </p:txBody>
      </p:sp>
      <p:sp>
        <p:nvSpPr>
          <p:cNvPr id="37" name="Fußzeilenplatzhalter 3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© MHP Management- und IT-Beratung GmbH</a:t>
            </a:r>
            <a:endParaRPr lang="en-US" dirty="0"/>
          </a:p>
        </p:txBody>
      </p:sp>
      <p:sp>
        <p:nvSpPr>
          <p:cNvPr id="38" name="Foliennummernplatzhalter 37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1029" name="Textplatzhalter 1028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de-DE"/>
              <a:t>Erklärungsfolien</a:t>
            </a:r>
            <a:endParaRPr lang="de-DE" dirty="0"/>
          </a:p>
        </p:txBody>
      </p:sp>
      <p:sp>
        <p:nvSpPr>
          <p:cNvPr id="21" name="Textplatzhalter 19"/>
          <p:cNvSpPr txBox="1">
            <a:spLocks/>
          </p:cNvSpPr>
          <p:nvPr/>
        </p:nvSpPr>
        <p:spPr bwMode="gray">
          <a:xfrm>
            <a:off x="4295775" y="3932237"/>
            <a:ext cx="3599658" cy="21605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SzPct val="100000"/>
              <a:buFont typeface="Wingdings" charset="2"/>
              <a:buNone/>
              <a:defRPr sz="1600" kern="1200">
                <a:solidFill>
                  <a:schemeClr val="tx1"/>
                </a:solidFill>
                <a:latin typeface="+mn-lt"/>
                <a:ea typeface="Segoe UI" pitchFamily="34" charset="0"/>
                <a:cs typeface="Segoe UI" pitchFamily="34" charset="0"/>
              </a:defRPr>
            </a:lvl1pPr>
            <a:lvl2pPr marL="0" indent="0" algn="l" defTabSz="4572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SzPct val="100000"/>
              <a:buFont typeface="Wingdings" charset="2"/>
              <a:buNone/>
              <a:defRPr sz="1600" b="1" kern="1200">
                <a:solidFill>
                  <a:schemeClr val="tx1"/>
                </a:solidFill>
                <a:latin typeface="+mn-lt"/>
                <a:ea typeface="Segoe UI" pitchFamily="34" charset="0"/>
                <a:cs typeface="Segoe UI" pitchFamily="34" charset="0"/>
              </a:defRPr>
            </a:lvl2pPr>
            <a:lvl3pPr marL="180975" indent="-180975" algn="l" defTabSz="4572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Segoe UI" pitchFamily="34" charset="0"/>
                <a:cs typeface="Segoe UI" pitchFamily="34" charset="0"/>
              </a:defRPr>
            </a:lvl3pPr>
            <a:lvl4pPr marL="360000" indent="-180975" algn="l" defTabSz="4572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Segoe UI" pitchFamily="34" charset="0"/>
                <a:cs typeface="Segoe UI" pitchFamily="34" charset="0"/>
              </a:defRPr>
            </a:lvl4pPr>
            <a:lvl5pPr marL="270000" indent="-270000" algn="l" defTabSz="4572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Segoe UI" pitchFamily="34" charset="0"/>
                <a:cs typeface="Segoe UI" pitchFamily="34" charset="0"/>
              </a:defRPr>
            </a:lvl5pPr>
            <a:lvl6pPr marL="540000" indent="-270000" algn="l" defTabSz="4572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90000"/>
              <a:buFont typeface="+mj-lt"/>
              <a:buAutoNum type="alphaLcParenR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457200" rtl="0" eaLnBrk="1" latinLnBrk="0" hangingPunct="1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None/>
              <a:defRPr sz="2400" b="1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457200" rtl="0" eaLnBrk="1" latinLnBrk="0" hangingPunct="1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None/>
              <a:defRPr sz="2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4572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None/>
              <a:defRPr sz="1100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400" dirty="0">
                <a:solidFill>
                  <a:schemeClr val="accent1"/>
                </a:solidFill>
              </a:rPr>
              <a:t>Kopf und Fußzeile</a:t>
            </a:r>
          </a:p>
          <a:p>
            <a:r>
              <a:rPr lang="de-DE" sz="1400" dirty="0">
                <a:solidFill>
                  <a:schemeClr val="tx2"/>
                </a:solidFill>
              </a:rPr>
              <a:t>Zum Ändern der Fußzeile: </a:t>
            </a:r>
            <a:br>
              <a:rPr lang="de-DE" sz="1400" dirty="0">
                <a:solidFill>
                  <a:schemeClr val="tx2"/>
                </a:solidFill>
              </a:rPr>
            </a:br>
            <a:r>
              <a:rPr lang="de-DE" sz="1400" b="1" dirty="0">
                <a:solidFill>
                  <a:schemeClr val="tx2"/>
                </a:solidFill>
              </a:rPr>
              <a:t>Einfügen &gt; Kopf- und Fußzeile </a:t>
            </a:r>
          </a:p>
        </p:txBody>
      </p:sp>
      <p:sp>
        <p:nvSpPr>
          <p:cNvPr id="22" name="Textplatzhalter 19"/>
          <p:cNvSpPr txBox="1">
            <a:spLocks/>
          </p:cNvSpPr>
          <p:nvPr/>
        </p:nvSpPr>
        <p:spPr bwMode="gray">
          <a:xfrm>
            <a:off x="8185151" y="3933824"/>
            <a:ext cx="3598862" cy="21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SzPct val="100000"/>
              <a:buFont typeface="Wingdings" charset="2"/>
              <a:buNone/>
              <a:defRPr sz="1600" kern="1200">
                <a:solidFill>
                  <a:schemeClr val="tx1"/>
                </a:solidFill>
                <a:latin typeface="+mn-lt"/>
                <a:ea typeface="Segoe UI" pitchFamily="34" charset="0"/>
                <a:cs typeface="Segoe UI" pitchFamily="34" charset="0"/>
              </a:defRPr>
            </a:lvl1pPr>
            <a:lvl2pPr marL="0" indent="0" algn="l" defTabSz="4572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SzPct val="100000"/>
              <a:buFont typeface="Wingdings" charset="2"/>
              <a:buNone/>
              <a:defRPr sz="1600" b="1" kern="1200">
                <a:solidFill>
                  <a:schemeClr val="tx1"/>
                </a:solidFill>
                <a:latin typeface="+mn-lt"/>
                <a:ea typeface="Segoe UI" pitchFamily="34" charset="0"/>
                <a:cs typeface="Segoe UI" pitchFamily="34" charset="0"/>
              </a:defRPr>
            </a:lvl2pPr>
            <a:lvl3pPr marL="180975" indent="-180975" algn="l" defTabSz="4572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Segoe UI" pitchFamily="34" charset="0"/>
                <a:cs typeface="Segoe UI" pitchFamily="34" charset="0"/>
              </a:defRPr>
            </a:lvl3pPr>
            <a:lvl4pPr marL="360000" indent="-180975" algn="l" defTabSz="4572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Segoe UI" pitchFamily="34" charset="0"/>
                <a:cs typeface="Segoe UI" pitchFamily="34" charset="0"/>
              </a:defRPr>
            </a:lvl4pPr>
            <a:lvl5pPr marL="270000" indent="-270000" algn="l" defTabSz="4572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Segoe UI" pitchFamily="34" charset="0"/>
                <a:cs typeface="Segoe UI" pitchFamily="34" charset="0"/>
              </a:defRPr>
            </a:lvl5pPr>
            <a:lvl6pPr marL="540000" indent="-270000" algn="l" defTabSz="4572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90000"/>
              <a:buFont typeface="+mj-lt"/>
              <a:buAutoNum type="alphaLcParenR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457200" rtl="0" eaLnBrk="1" latinLnBrk="0" hangingPunct="1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None/>
              <a:defRPr sz="2400" b="1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457200" rtl="0" eaLnBrk="1" latinLnBrk="0" hangingPunct="1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None/>
              <a:defRPr sz="2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4572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None/>
              <a:defRPr sz="1100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400" dirty="0">
                <a:solidFill>
                  <a:schemeClr val="accent1"/>
                </a:solidFill>
              </a:rPr>
              <a:t>Führungslinien anzeigen</a:t>
            </a:r>
          </a:p>
          <a:p>
            <a:r>
              <a:rPr lang="de-DE" sz="1400" dirty="0">
                <a:solidFill>
                  <a:schemeClr val="tx2"/>
                </a:solidFill>
              </a:rPr>
              <a:t>Aktivieren Sie die Zeichnungslinien </a:t>
            </a:r>
            <a:br>
              <a:rPr lang="de-DE" sz="1400" dirty="0">
                <a:solidFill>
                  <a:schemeClr val="tx2"/>
                </a:solidFill>
              </a:rPr>
            </a:br>
            <a:r>
              <a:rPr lang="de-DE" sz="1400" dirty="0">
                <a:solidFill>
                  <a:schemeClr val="tx2"/>
                </a:solidFill>
              </a:rPr>
              <a:t>über das Menü </a:t>
            </a:r>
            <a:r>
              <a:rPr lang="de-DE" sz="1400" b="1" dirty="0">
                <a:solidFill>
                  <a:schemeClr val="tx2"/>
                </a:solidFill>
              </a:rPr>
              <a:t>„Ansicht“ &gt; </a:t>
            </a:r>
            <a:br>
              <a:rPr lang="de-DE" sz="1400" b="1" dirty="0">
                <a:solidFill>
                  <a:schemeClr val="tx2"/>
                </a:solidFill>
              </a:rPr>
            </a:br>
            <a:r>
              <a:rPr lang="de-DE" sz="1400" b="1" dirty="0">
                <a:solidFill>
                  <a:schemeClr val="tx2"/>
                </a:solidFill>
              </a:rPr>
              <a:t>Anzeigen &gt; Führungslinien.</a:t>
            </a:r>
            <a:br>
              <a:rPr lang="de-DE" sz="1400" b="1" dirty="0">
                <a:solidFill>
                  <a:schemeClr val="tx2"/>
                </a:solidFill>
              </a:rPr>
            </a:br>
            <a:r>
              <a:rPr lang="de-DE" sz="1400" dirty="0">
                <a:solidFill>
                  <a:schemeClr val="tx2"/>
                </a:solidFill>
              </a:rPr>
              <a:t>An den Zeichnungslinien lassen </a:t>
            </a:r>
            <a:br>
              <a:rPr lang="de-DE" sz="1400" dirty="0">
                <a:solidFill>
                  <a:schemeClr val="tx2"/>
                </a:solidFill>
              </a:rPr>
            </a:br>
            <a:r>
              <a:rPr lang="de-DE" sz="1400" dirty="0">
                <a:solidFill>
                  <a:schemeClr val="tx2"/>
                </a:solidFill>
              </a:rPr>
              <a:t>sich Objekte einfacher ausrichten.</a:t>
            </a:r>
            <a:br>
              <a:rPr lang="de-DE" sz="1400" dirty="0">
                <a:solidFill>
                  <a:schemeClr val="tx2"/>
                </a:solidFill>
              </a:rPr>
            </a:br>
            <a:r>
              <a:rPr lang="de-DE" sz="1400" dirty="0">
                <a:solidFill>
                  <a:schemeClr val="tx2"/>
                </a:solidFill>
              </a:rPr>
              <a:t>Optimieren Sie die Einstellungen </a:t>
            </a:r>
            <a:br>
              <a:rPr lang="de-DE" sz="1400" dirty="0">
                <a:solidFill>
                  <a:schemeClr val="tx2"/>
                </a:solidFill>
              </a:rPr>
            </a:br>
            <a:r>
              <a:rPr lang="de-DE" sz="1400" dirty="0">
                <a:solidFill>
                  <a:schemeClr val="tx2"/>
                </a:solidFill>
              </a:rPr>
              <a:t>(wie im Beispiel zu sehen) über Klick </a:t>
            </a:r>
            <a:br>
              <a:rPr lang="de-DE" sz="1400" dirty="0">
                <a:solidFill>
                  <a:schemeClr val="tx2"/>
                </a:solidFill>
              </a:rPr>
            </a:br>
            <a:r>
              <a:rPr lang="de-DE" sz="1400" dirty="0">
                <a:solidFill>
                  <a:schemeClr val="tx2"/>
                </a:solidFill>
              </a:rPr>
              <a:t>auf das Auswahlmenü.</a:t>
            </a:r>
          </a:p>
        </p:txBody>
      </p:sp>
      <p:sp>
        <p:nvSpPr>
          <p:cNvPr id="25" name="Rechteck 24"/>
          <p:cNvSpPr/>
          <p:nvPr/>
        </p:nvSpPr>
        <p:spPr bwMode="gray">
          <a:xfrm>
            <a:off x="4294983" y="1484313"/>
            <a:ext cx="3600450" cy="216058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66" tIns="119960" rIns="95966" bIns="9596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endParaRPr lang="de-DE" b="1" u="sng" dirty="0" err="1">
              <a:solidFill>
                <a:schemeClr val="bg1"/>
              </a:solidFill>
            </a:endParaRPr>
          </a:p>
        </p:txBody>
      </p:sp>
      <p:sp>
        <p:nvSpPr>
          <p:cNvPr id="26" name="Rechteck 25"/>
          <p:cNvSpPr/>
          <p:nvPr/>
        </p:nvSpPr>
        <p:spPr bwMode="gray">
          <a:xfrm>
            <a:off x="8185151" y="1484313"/>
            <a:ext cx="3598862" cy="216058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66" tIns="119960" rIns="95966" bIns="9596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endParaRPr lang="de-DE" b="1" u="sng" dirty="0" err="1">
              <a:solidFill>
                <a:schemeClr val="bg1"/>
              </a:solidFill>
            </a:endParaRPr>
          </a:p>
        </p:txBody>
      </p:sp>
      <p:grpSp>
        <p:nvGrpSpPr>
          <p:cNvPr id="39" name="Gruppieren 38"/>
          <p:cNvGrpSpPr/>
          <p:nvPr/>
        </p:nvGrpSpPr>
        <p:grpSpPr>
          <a:xfrm>
            <a:off x="8757071" y="2022549"/>
            <a:ext cx="2447706" cy="1132275"/>
            <a:chOff x="6336196" y="2156460"/>
            <a:chExt cx="2268252" cy="1049020"/>
          </a:xfrm>
        </p:grpSpPr>
        <p:pic>
          <p:nvPicPr>
            <p:cNvPr id="40" name="Picture 5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66"/>
            <a:stretch/>
          </p:blipFill>
          <p:spPr bwMode="gray">
            <a:xfrm>
              <a:off x="7190059" y="2156460"/>
              <a:ext cx="1414389" cy="1028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1" name="Picture 6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"/>
            <a:stretch/>
          </p:blipFill>
          <p:spPr bwMode="gray">
            <a:xfrm>
              <a:off x="6336196" y="2610883"/>
              <a:ext cx="780806" cy="5739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2" name="Rechteck 41"/>
            <p:cNvSpPr/>
            <p:nvPr/>
          </p:nvSpPr>
          <p:spPr>
            <a:xfrm>
              <a:off x="7012536" y="3081340"/>
              <a:ext cx="119706" cy="12414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90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endParaRPr lang="de-DE" b="1" dirty="0" err="1">
                <a:solidFill>
                  <a:schemeClr val="bg1"/>
                </a:solidFill>
              </a:endParaRPr>
            </a:p>
          </p:txBody>
        </p:sp>
      </p:grpSp>
      <p:pic>
        <p:nvPicPr>
          <p:cNvPr id="43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58040" y="1804252"/>
            <a:ext cx="2274334" cy="1568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5B367B93-2173-48A2-8FA9-976A03E61FB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28315" y="1572074"/>
            <a:ext cx="1742701" cy="1985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5136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err="1"/>
              <a:t>microservice</a:t>
            </a:r>
            <a:r>
              <a:rPr lang="de-DE" dirty="0"/>
              <a:t> </a:t>
            </a:r>
            <a:r>
              <a:rPr lang="de-DE" dirty="0" err="1"/>
              <a:t>basics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QuickWin</a:t>
            </a:r>
            <a:r>
              <a:rPr lang="de-DE" dirty="0"/>
              <a:t>: </a:t>
            </a:r>
            <a:r>
              <a:rPr lang="de-DE" dirty="0" err="1"/>
              <a:t>Learn</a:t>
            </a:r>
            <a:r>
              <a:rPr lang="de-DE" dirty="0"/>
              <a:t> a </a:t>
            </a:r>
            <a:r>
              <a:rPr lang="de-DE" dirty="0" err="1"/>
              <a:t>little</a:t>
            </a:r>
            <a:r>
              <a:rPr lang="de-DE" dirty="0"/>
              <a:t> </a:t>
            </a:r>
            <a:r>
              <a:rPr lang="de-DE" dirty="0" err="1"/>
              <a:t>bi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GO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Jochen Grün (ISO)</a:t>
            </a:r>
          </a:p>
        </p:txBody>
      </p:sp>
      <p:sp>
        <p:nvSpPr>
          <p:cNvPr id="17" name="Datumsplatzhalter 16"/>
          <p:cNvSpPr>
            <a:spLocks noGrp="1"/>
          </p:cNvSpPr>
          <p:nvPr>
            <p:ph type="dt" sz="half" idx="4294967295"/>
          </p:nvPr>
        </p:nvSpPr>
        <p:spPr>
          <a:xfrm>
            <a:off x="527783" y="6890599"/>
            <a:ext cx="1009042" cy="260350"/>
          </a:xfrm>
        </p:spPr>
        <p:txBody>
          <a:bodyPr/>
          <a:lstStyle/>
          <a:p>
            <a:fld id="{F855CA7A-64CC-4CEA-BB65-02ED51AF645F}" type="datetime1">
              <a:rPr lang="de-DE" smtClean="0"/>
              <a:t>16.03.2021</a:t>
            </a:fld>
            <a:endParaRPr lang="de-DE" dirty="0"/>
          </a:p>
        </p:txBody>
      </p:sp>
      <p:sp>
        <p:nvSpPr>
          <p:cNvPr id="18" name="Fußzeilenplatzhalter 17"/>
          <p:cNvSpPr>
            <a:spLocks noGrp="1"/>
          </p:cNvSpPr>
          <p:nvPr>
            <p:ph type="ftr" sz="quarter" idx="4294967295"/>
          </p:nvPr>
        </p:nvSpPr>
        <p:spPr>
          <a:xfrm>
            <a:off x="1536819" y="6890596"/>
            <a:ext cx="6671342" cy="260349"/>
          </a:xfrm>
        </p:spPr>
        <p:txBody>
          <a:bodyPr/>
          <a:lstStyle/>
          <a:p>
            <a:r>
              <a:rPr lang="de-DE" dirty="0"/>
              <a:t>© MHP Management- und IT-Beratung GmbH</a:t>
            </a:r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4294967295"/>
          </p:nvPr>
        </p:nvSpPr>
        <p:spPr>
          <a:xfrm>
            <a:off x="11180740" y="6890595"/>
            <a:ext cx="480321" cy="260349"/>
          </a:xfrm>
        </p:spPr>
        <p:txBody>
          <a:bodyPr/>
          <a:lstStyle/>
          <a:p>
            <a:fld id="{2066355A-084C-D24E-9AD2-7E4FC41EA627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4961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 bwMode="gray">
          <a:xfrm>
            <a:off x="407988" y="1484312"/>
            <a:ext cx="11376025" cy="4897437"/>
          </a:xfrm>
          <a:prstGeom prst="rect">
            <a:avLst/>
          </a:prstGeom>
          <a:solidFill>
            <a:schemeClr val="bg2"/>
          </a:solidFill>
          <a:ln w="6350">
            <a:noFill/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79" tIns="60939" rIns="121879" bIns="609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3200" dirty="0">
                <a:solidFill>
                  <a:schemeClr val="bg1"/>
                </a:solidFill>
              </a:rPr>
              <a:t>Bereich für Inhalte</a:t>
            </a:r>
          </a:p>
        </p:txBody>
      </p:sp>
      <p:sp>
        <p:nvSpPr>
          <p:cNvPr id="28" name="Textplatzhalter 27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407988" y="404814"/>
            <a:ext cx="7777162" cy="792162"/>
          </a:xfrm>
        </p:spPr>
        <p:txBody>
          <a:bodyPr/>
          <a:lstStyle/>
          <a:p>
            <a:r>
              <a:rPr lang="de-DE"/>
              <a:t>Erklärung </a:t>
            </a:r>
            <a:br>
              <a:rPr lang="de-DE"/>
            </a:br>
            <a:r>
              <a:rPr lang="de-DE"/>
              <a:t>des Rasters</a:t>
            </a:r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3BB8C476-96A5-4CF8-8ABE-ACA7592E8F19}" type="datetime1">
              <a:rPr lang="de-DE" smtClean="0"/>
              <a:pPr/>
              <a:t>16.03.2021</a:t>
            </a:fld>
            <a:endParaRPr lang="en-US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© MHP Management- und IT-Beratung GmbH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27"/>
          </p:nvPr>
        </p:nvSpPr>
        <p:spPr/>
        <p:txBody>
          <a:bodyPr/>
          <a:lstStyle/>
          <a:p>
            <a:r>
              <a:rPr lang="de-DE"/>
              <a:t>Erklärungsfolien</a:t>
            </a:r>
            <a:endParaRPr lang="de-DE" dirty="0"/>
          </a:p>
        </p:txBody>
      </p:sp>
      <p:sp>
        <p:nvSpPr>
          <p:cNvPr id="4" name="Rechteck 3"/>
          <p:cNvSpPr/>
          <p:nvPr/>
        </p:nvSpPr>
        <p:spPr bwMode="gray">
          <a:xfrm>
            <a:off x="0" y="0"/>
            <a:ext cx="12192000" cy="1484307"/>
          </a:xfrm>
          <a:prstGeom prst="rect">
            <a:avLst/>
          </a:prstGeom>
          <a:solidFill>
            <a:srgbClr val="FFFFFF">
              <a:alpha val="80000"/>
            </a:srgbClr>
          </a:solidFill>
          <a:ln w="6350">
            <a:noFill/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79" tIns="60939" rIns="121879" bIns="609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Bereich für Titel, Logo und Kapitel</a:t>
            </a:r>
          </a:p>
        </p:txBody>
      </p:sp>
      <p:sp>
        <p:nvSpPr>
          <p:cNvPr id="18" name="Rechteck 17"/>
          <p:cNvSpPr/>
          <p:nvPr/>
        </p:nvSpPr>
        <p:spPr bwMode="gray">
          <a:xfrm>
            <a:off x="407989" y="6597652"/>
            <a:ext cx="11376024" cy="260346"/>
          </a:xfrm>
          <a:prstGeom prst="rect">
            <a:avLst/>
          </a:prstGeom>
          <a:solidFill>
            <a:srgbClr val="FFFFFF">
              <a:alpha val="60000"/>
            </a:srgbClr>
          </a:solidFill>
          <a:ln w="6350">
            <a:noFill/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79" tIns="60939" rIns="121879" bIns="609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>
                <a:solidFill>
                  <a:schemeClr val="tx1"/>
                </a:solidFill>
              </a:rPr>
              <a:t>Bereich für Datum, Fußzeile und Foliennummer</a:t>
            </a:r>
          </a:p>
        </p:txBody>
      </p:sp>
      <p:cxnSp>
        <p:nvCxnSpPr>
          <p:cNvPr id="20" name="Gerade Verbindung 19"/>
          <p:cNvCxnSpPr/>
          <p:nvPr/>
        </p:nvCxnSpPr>
        <p:spPr bwMode="gray">
          <a:xfrm>
            <a:off x="406800" y="0"/>
            <a:ext cx="0" cy="6858000"/>
          </a:xfrm>
          <a:prstGeom prst="line">
            <a:avLst/>
          </a:prstGeom>
          <a:ln w="12700">
            <a:solidFill>
              <a:schemeClr val="accent5"/>
            </a:solidFill>
            <a:prstDash val="sysDot"/>
            <a:miter lim="800000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>
            <a:off x="4008438" y="0"/>
            <a:ext cx="0" cy="6858000"/>
          </a:xfrm>
          <a:prstGeom prst="line">
            <a:avLst/>
          </a:prstGeom>
          <a:ln w="12700">
            <a:solidFill>
              <a:schemeClr val="accent5"/>
            </a:solidFill>
            <a:prstDash val="sysDot"/>
            <a:miter lim="800000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/>
        </p:nvCxnSpPr>
        <p:spPr bwMode="gray">
          <a:xfrm>
            <a:off x="4295775" y="0"/>
            <a:ext cx="0" cy="6858000"/>
          </a:xfrm>
          <a:prstGeom prst="line">
            <a:avLst/>
          </a:prstGeom>
          <a:ln w="12700">
            <a:solidFill>
              <a:schemeClr val="accent5"/>
            </a:solidFill>
            <a:prstDash val="sysDot"/>
            <a:miter lim="800000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/>
        </p:nvCxnSpPr>
        <p:spPr bwMode="gray">
          <a:xfrm>
            <a:off x="5951538" y="0"/>
            <a:ext cx="0" cy="6858000"/>
          </a:xfrm>
          <a:prstGeom prst="line">
            <a:avLst/>
          </a:prstGeom>
          <a:ln w="12700">
            <a:solidFill>
              <a:schemeClr val="accent5"/>
            </a:solidFill>
            <a:prstDash val="sysDot"/>
            <a:miter lim="800000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 bwMode="gray">
          <a:xfrm>
            <a:off x="6240463" y="0"/>
            <a:ext cx="0" cy="6858000"/>
          </a:xfrm>
          <a:prstGeom prst="line">
            <a:avLst/>
          </a:prstGeom>
          <a:ln w="12700">
            <a:solidFill>
              <a:schemeClr val="accent5"/>
            </a:solidFill>
            <a:prstDash val="sysDot"/>
            <a:miter lim="800000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/>
        </p:nvCxnSpPr>
        <p:spPr bwMode="gray">
          <a:xfrm>
            <a:off x="7893484" y="0"/>
            <a:ext cx="0" cy="6858000"/>
          </a:xfrm>
          <a:prstGeom prst="line">
            <a:avLst/>
          </a:prstGeom>
          <a:ln w="12700">
            <a:solidFill>
              <a:schemeClr val="accent5"/>
            </a:solidFill>
            <a:prstDash val="sysDot"/>
            <a:miter lim="800000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/>
          <p:cNvCxnSpPr/>
          <p:nvPr/>
        </p:nvCxnSpPr>
        <p:spPr bwMode="gray">
          <a:xfrm>
            <a:off x="8185150" y="0"/>
            <a:ext cx="0" cy="6858000"/>
          </a:xfrm>
          <a:prstGeom prst="line">
            <a:avLst/>
          </a:prstGeom>
          <a:ln w="12700">
            <a:solidFill>
              <a:schemeClr val="accent5"/>
            </a:solidFill>
            <a:prstDash val="sysDot"/>
            <a:miter lim="800000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3"/>
          <p:cNvCxnSpPr/>
          <p:nvPr/>
        </p:nvCxnSpPr>
        <p:spPr bwMode="gray">
          <a:xfrm>
            <a:off x="11783219" y="0"/>
            <a:ext cx="0" cy="6858000"/>
          </a:xfrm>
          <a:prstGeom prst="line">
            <a:avLst/>
          </a:prstGeom>
          <a:ln w="12700">
            <a:solidFill>
              <a:schemeClr val="accent5"/>
            </a:solidFill>
            <a:prstDash val="sysDot"/>
            <a:miter lim="800000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" name="Gerader Verbinder 2"/>
          <p:cNvCxnSpPr/>
          <p:nvPr/>
        </p:nvCxnSpPr>
        <p:spPr bwMode="gray">
          <a:xfrm>
            <a:off x="0" y="404814"/>
            <a:ext cx="12192000" cy="0"/>
          </a:xfrm>
          <a:prstGeom prst="line">
            <a:avLst/>
          </a:prstGeom>
          <a:ln w="12700">
            <a:solidFill>
              <a:schemeClr val="accent5"/>
            </a:solidFill>
            <a:prstDash val="sysDot"/>
            <a:miter lim="800000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/>
          <p:cNvCxnSpPr/>
          <p:nvPr/>
        </p:nvCxnSpPr>
        <p:spPr bwMode="gray">
          <a:xfrm>
            <a:off x="0" y="1196975"/>
            <a:ext cx="12192000" cy="0"/>
          </a:xfrm>
          <a:prstGeom prst="line">
            <a:avLst/>
          </a:prstGeom>
          <a:ln w="12700">
            <a:solidFill>
              <a:schemeClr val="accent5"/>
            </a:solidFill>
            <a:prstDash val="sysDot"/>
            <a:miter lim="800000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/>
          <p:cNvCxnSpPr/>
          <p:nvPr/>
        </p:nvCxnSpPr>
        <p:spPr bwMode="gray">
          <a:xfrm>
            <a:off x="0" y="1482721"/>
            <a:ext cx="12192000" cy="0"/>
          </a:xfrm>
          <a:prstGeom prst="line">
            <a:avLst/>
          </a:prstGeom>
          <a:ln w="12700">
            <a:solidFill>
              <a:schemeClr val="accent5"/>
            </a:solidFill>
            <a:prstDash val="sysDot"/>
            <a:miter lim="800000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/>
          <p:cNvCxnSpPr/>
          <p:nvPr/>
        </p:nvCxnSpPr>
        <p:spPr bwMode="gray">
          <a:xfrm>
            <a:off x="0" y="3789361"/>
            <a:ext cx="12192000" cy="0"/>
          </a:xfrm>
          <a:prstGeom prst="line">
            <a:avLst/>
          </a:prstGeom>
          <a:ln w="12700">
            <a:solidFill>
              <a:schemeClr val="accent5"/>
            </a:solidFill>
            <a:prstDash val="sysDot"/>
            <a:miter lim="800000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/>
          <p:cNvCxnSpPr/>
          <p:nvPr/>
        </p:nvCxnSpPr>
        <p:spPr bwMode="gray">
          <a:xfrm>
            <a:off x="0" y="4076700"/>
            <a:ext cx="12192000" cy="0"/>
          </a:xfrm>
          <a:prstGeom prst="line">
            <a:avLst/>
          </a:prstGeom>
          <a:ln w="12700">
            <a:solidFill>
              <a:schemeClr val="accent5"/>
            </a:solidFill>
            <a:prstDash val="sysDot"/>
            <a:miter lim="800000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/>
          <p:cNvCxnSpPr/>
          <p:nvPr/>
        </p:nvCxnSpPr>
        <p:spPr bwMode="gray">
          <a:xfrm>
            <a:off x="0" y="6381750"/>
            <a:ext cx="12192000" cy="0"/>
          </a:xfrm>
          <a:prstGeom prst="line">
            <a:avLst/>
          </a:prstGeom>
          <a:ln w="12700">
            <a:solidFill>
              <a:schemeClr val="accent5"/>
            </a:solidFill>
            <a:prstDash val="sysDot"/>
            <a:miter lim="800000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/>
          <p:cNvCxnSpPr/>
          <p:nvPr/>
        </p:nvCxnSpPr>
        <p:spPr bwMode="gray">
          <a:xfrm>
            <a:off x="0" y="6597650"/>
            <a:ext cx="12192000" cy="0"/>
          </a:xfrm>
          <a:prstGeom prst="line">
            <a:avLst/>
          </a:prstGeom>
          <a:ln w="12700">
            <a:solidFill>
              <a:schemeClr val="accent5"/>
            </a:solidFill>
            <a:prstDash val="sysDot"/>
            <a:miter lim="800000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4088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Microserv</a:t>
            </a:r>
            <a:endParaRPr lang="de-DE" dirty="0"/>
          </a:p>
          <a:p>
            <a:r>
              <a:rPr lang="de-DE" dirty="0"/>
              <a:t>Inhalt</a:t>
            </a:r>
          </a:p>
          <a:p>
            <a:pPr lvl="1"/>
            <a:r>
              <a:rPr lang="de-DE" dirty="0"/>
              <a:t>Unterpunkt</a:t>
            </a:r>
          </a:p>
          <a:p>
            <a:pPr lvl="1"/>
            <a:r>
              <a:rPr lang="de-DE" dirty="0"/>
              <a:t>Unterpunkt</a:t>
            </a:r>
          </a:p>
          <a:p>
            <a:r>
              <a:rPr lang="de-DE" dirty="0"/>
              <a:t>Inhalt</a:t>
            </a:r>
          </a:p>
          <a:p>
            <a:pPr lvl="1"/>
            <a:r>
              <a:rPr lang="de-DE" dirty="0"/>
              <a:t>Unterpunkt</a:t>
            </a:r>
          </a:p>
          <a:p>
            <a:pPr lvl="1"/>
            <a:r>
              <a:rPr lang="de-DE" dirty="0"/>
              <a:t>Unterpunkt</a:t>
            </a:r>
          </a:p>
          <a:p>
            <a:r>
              <a:rPr lang="de-DE" dirty="0"/>
              <a:t>Inhalt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5" name="Datumsplatzhalter 1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0E726CA-4297-4D5D-BB64-B50431927A1B}" type="datetime1">
              <a:rPr lang="de-DE" smtClean="0"/>
              <a:t>16.03.2021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6527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ED18F5FB-DFAF-4392-8C4B-79394004121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Go </a:t>
            </a:r>
            <a:r>
              <a:rPr lang="de-DE" dirty="0" err="1"/>
              <a:t>Introduction</a:t>
            </a:r>
            <a:r>
              <a:rPr lang="de-DE" dirty="0"/>
              <a:t> (30m)</a:t>
            </a:r>
          </a:p>
          <a:p>
            <a:r>
              <a:rPr lang="de-DE" dirty="0"/>
              <a:t>Micro Service Coding (2h)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E5B19B4-86B6-4F1B-A1E5-DF99F8325F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22AA706-CA9A-4702-925C-D8C2E32F21E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0A53F34A-1776-4CF9-A7B7-801786891889}" type="datetime1">
              <a:rPr lang="de-DE" smtClean="0"/>
              <a:t>16.03.2021</a:t>
            </a:fld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2136A7C-B98D-47DF-B8AB-77B60EA4AD6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© MHP Management- und IT-Beratung GmbH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F1E7FE0-D806-4966-8C76-7DAFBA21F88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7371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/>
              <a:t>Wikipedia:</a:t>
            </a:r>
          </a:p>
          <a:p>
            <a:r>
              <a:rPr lang="en-US" i="1" dirty="0"/>
              <a:t>“Go is a </a:t>
            </a:r>
            <a:r>
              <a:rPr lang="en-US" b="1" i="1" dirty="0"/>
              <a:t>statically typed</a:t>
            </a:r>
            <a:r>
              <a:rPr lang="en-US" i="1" dirty="0"/>
              <a:t>, </a:t>
            </a:r>
            <a:r>
              <a:rPr lang="en-US" b="1" i="1" dirty="0"/>
              <a:t>compiled</a:t>
            </a:r>
            <a:r>
              <a:rPr lang="en-US" i="1" dirty="0"/>
              <a:t> programming language designed at Google by Robert </a:t>
            </a:r>
            <a:r>
              <a:rPr lang="en-US" i="1" dirty="0" err="1"/>
              <a:t>Griesemer</a:t>
            </a:r>
            <a:r>
              <a:rPr lang="en-US" i="1" dirty="0"/>
              <a:t>, Rob Pike, and Ken Thompson. Go is syntactically </a:t>
            </a:r>
            <a:r>
              <a:rPr lang="en-US" b="1" i="1" dirty="0"/>
              <a:t>similar to C</a:t>
            </a:r>
            <a:r>
              <a:rPr lang="en-US" i="1" dirty="0"/>
              <a:t>, but with </a:t>
            </a:r>
            <a:r>
              <a:rPr lang="en-US" b="1" i="1" dirty="0"/>
              <a:t>memory safety</a:t>
            </a:r>
            <a:r>
              <a:rPr lang="en-US" i="1" dirty="0"/>
              <a:t>, </a:t>
            </a:r>
            <a:r>
              <a:rPr lang="en-US" b="1" i="1" dirty="0"/>
              <a:t>garbage collection</a:t>
            </a:r>
            <a:r>
              <a:rPr lang="en-US" i="1" dirty="0"/>
              <a:t>, </a:t>
            </a:r>
            <a:r>
              <a:rPr lang="en-US" b="1" i="1" dirty="0"/>
              <a:t>structural typing</a:t>
            </a:r>
            <a:r>
              <a:rPr lang="en-US" i="1" dirty="0"/>
              <a:t>, and </a:t>
            </a:r>
            <a:r>
              <a:rPr lang="en-US" b="1" i="1" dirty="0"/>
              <a:t>CSP-style concurrency</a:t>
            </a:r>
            <a:r>
              <a:rPr lang="en-US" i="1" dirty="0"/>
              <a:t>. The language is often referred to as Golang because of its domain name, golang.org, but the proper name is Go.”</a:t>
            </a:r>
            <a:endParaRPr lang="de-DE" i="1" dirty="0"/>
          </a:p>
          <a:p>
            <a:r>
              <a:rPr lang="de-DE" dirty="0"/>
              <a:t>(CSP = </a:t>
            </a:r>
            <a:r>
              <a:rPr lang="de-DE" dirty="0" err="1"/>
              <a:t>communicating</a:t>
            </a:r>
            <a:r>
              <a:rPr lang="de-DE" dirty="0"/>
              <a:t> </a:t>
            </a:r>
            <a:r>
              <a:rPr lang="de-DE" dirty="0" err="1"/>
              <a:t>sequential</a:t>
            </a:r>
            <a:r>
              <a:rPr lang="de-DE" dirty="0"/>
              <a:t> </a:t>
            </a:r>
            <a:r>
              <a:rPr lang="de-DE" dirty="0" err="1"/>
              <a:t>processes</a:t>
            </a:r>
            <a:r>
              <a:rPr lang="de-DE" dirty="0"/>
              <a:t>)</a:t>
            </a:r>
          </a:p>
          <a:p>
            <a:endParaRPr lang="de-DE" dirty="0"/>
          </a:p>
          <a:p>
            <a:r>
              <a:rPr lang="de-DE" dirty="0"/>
              <a:t>Go </a:t>
            </a:r>
            <a:r>
              <a:rPr lang="de-DE" dirty="0" err="1"/>
              <a:t>has</a:t>
            </a:r>
            <a:r>
              <a:rPr lang="de-DE" dirty="0"/>
              <a:t> </a:t>
            </a:r>
            <a:r>
              <a:rPr lang="de-DE" dirty="0" err="1"/>
              <a:t>some</a:t>
            </a:r>
            <a:r>
              <a:rPr lang="de-DE" dirty="0"/>
              <a:t> </a:t>
            </a:r>
            <a:r>
              <a:rPr lang="de-DE" dirty="0" err="1"/>
              <a:t>unique</a:t>
            </a:r>
            <a:r>
              <a:rPr lang="de-DE" dirty="0"/>
              <a:t> </a:t>
            </a:r>
            <a:r>
              <a:rPr lang="de-DE" dirty="0" err="1"/>
              <a:t>features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sets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apart </a:t>
            </a:r>
            <a:r>
              <a:rPr lang="de-DE" dirty="0" err="1"/>
              <a:t>from</a:t>
            </a:r>
            <a:r>
              <a:rPr lang="de-DE" dirty="0"/>
              <a:t> e.g. .NET and Java</a:t>
            </a:r>
          </a:p>
          <a:p>
            <a:pPr lvl="1"/>
            <a:r>
              <a:rPr lang="de-DE" dirty="0" err="1"/>
              <a:t>compiles</a:t>
            </a:r>
            <a:r>
              <a:rPr lang="de-DE" dirty="0"/>
              <a:t> </a:t>
            </a:r>
            <a:r>
              <a:rPr lang="de-DE" dirty="0" err="1"/>
              <a:t>into</a:t>
            </a:r>
            <a:r>
              <a:rPr lang="de-DE" dirty="0"/>
              <a:t> native </a:t>
            </a:r>
            <a:r>
              <a:rPr lang="de-DE" dirty="0" err="1"/>
              <a:t>binaries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JVM </a:t>
            </a:r>
            <a:r>
              <a:rPr lang="de-DE" dirty="0" err="1"/>
              <a:t>or</a:t>
            </a:r>
            <a:r>
              <a:rPr lang="de-DE" dirty="0"/>
              <a:t> JIT </a:t>
            </a:r>
            <a:r>
              <a:rPr lang="de-DE" dirty="0" err="1"/>
              <a:t>needed</a:t>
            </a:r>
            <a:endParaRPr lang="de-DE" dirty="0"/>
          </a:p>
          <a:p>
            <a:pPr lvl="1"/>
            <a:r>
              <a:rPr lang="de-DE" dirty="0" err="1"/>
              <a:t>very</a:t>
            </a:r>
            <a:r>
              <a:rPr lang="de-DE" dirty="0"/>
              <a:t> </a:t>
            </a:r>
            <a:r>
              <a:rPr lang="de-DE" dirty="0" err="1"/>
              <a:t>small</a:t>
            </a:r>
            <a:r>
              <a:rPr lang="de-DE" dirty="0"/>
              <a:t> CPU/RAM </a:t>
            </a:r>
            <a:r>
              <a:rPr lang="de-DE" dirty="0" err="1"/>
              <a:t>footprint</a:t>
            </a:r>
            <a:endParaRPr lang="de-DE" dirty="0"/>
          </a:p>
          <a:p>
            <a:pPr lvl="1"/>
            <a:r>
              <a:rPr lang="de-DE" dirty="0" err="1"/>
              <a:t>single</a:t>
            </a:r>
            <a:r>
              <a:rPr lang="de-DE" dirty="0"/>
              <a:t> </a:t>
            </a:r>
            <a:r>
              <a:rPr lang="de-DE" dirty="0" err="1"/>
              <a:t>binary</a:t>
            </a:r>
            <a:r>
              <a:rPr lang="de-DE" dirty="0"/>
              <a:t> </a:t>
            </a:r>
            <a:r>
              <a:rPr lang="de-DE" dirty="0" err="1"/>
              <a:t>compilation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very</a:t>
            </a:r>
            <a:r>
              <a:rPr lang="de-DE" dirty="0"/>
              <a:t> </a:t>
            </a:r>
            <a:r>
              <a:rPr lang="de-DE" dirty="0" err="1"/>
              <a:t>convenient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building</a:t>
            </a:r>
            <a:r>
              <a:rPr lang="de-DE" dirty="0"/>
              <a:t> </a:t>
            </a:r>
            <a:r>
              <a:rPr lang="de-DE" dirty="0" err="1"/>
              <a:t>docker</a:t>
            </a:r>
            <a:r>
              <a:rPr lang="de-DE" dirty="0"/>
              <a:t> </a:t>
            </a:r>
            <a:r>
              <a:rPr lang="de-DE" dirty="0" err="1"/>
              <a:t>images</a:t>
            </a:r>
            <a:endParaRPr lang="de-DE" dirty="0"/>
          </a:p>
          <a:p>
            <a:pPr lvl="1"/>
            <a:r>
              <a:rPr lang="de-DE" dirty="0" err="1"/>
              <a:t>excellent</a:t>
            </a:r>
            <a:r>
              <a:rPr lang="de-DE" dirty="0"/>
              <a:t> </a:t>
            </a:r>
            <a:r>
              <a:rPr lang="de-DE" dirty="0" err="1"/>
              <a:t>integration</a:t>
            </a:r>
            <a:r>
              <a:rPr lang="de-DE" dirty="0"/>
              <a:t> in </a:t>
            </a:r>
            <a:r>
              <a:rPr lang="de-DE" dirty="0" err="1"/>
              <a:t>kubernetes</a:t>
            </a:r>
            <a:r>
              <a:rPr lang="de-DE" dirty="0"/>
              <a:t> </a:t>
            </a:r>
            <a:r>
              <a:rPr lang="de-DE" dirty="0" err="1"/>
              <a:t>ecosystem</a:t>
            </a:r>
            <a:endParaRPr lang="de-DE" dirty="0"/>
          </a:p>
        </p:txBody>
      </p:sp>
      <p:sp>
        <p:nvSpPr>
          <p:cNvPr id="20" name="Titel 19"/>
          <p:cNvSpPr>
            <a:spLocks noGrp="1"/>
          </p:cNvSpPr>
          <p:nvPr>
            <p:ph type="title"/>
          </p:nvPr>
        </p:nvSpPr>
        <p:spPr>
          <a:xfrm>
            <a:off x="407988" y="404814"/>
            <a:ext cx="7777162" cy="792162"/>
          </a:xfrm>
        </p:spPr>
        <p:txBody>
          <a:bodyPr/>
          <a:lstStyle/>
          <a:p>
            <a:r>
              <a:rPr lang="en-US" dirty="0"/>
              <a:t>Introducing to you: “Go”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70E9AACE-BDBD-415B-8195-34948F18EBB2}" type="datetime1">
              <a:rPr lang="de-DE" smtClean="0"/>
              <a:pPr/>
              <a:t>16.03.2021</a:t>
            </a:fld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 dirty="0"/>
              <a:t>© MHP Management- und IT-Beratung GmbH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6204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A6A1F346-44FF-4142-A3A4-86B184BE13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6401" y="800895"/>
            <a:ext cx="5657850" cy="5686425"/>
          </a:xfrm>
          <a:prstGeom prst="rect">
            <a:avLst/>
          </a:prstGeom>
        </p:spPr>
      </p:pic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C677105-0646-443B-991E-5350E5E7F2DE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43CE7C91-877C-44D6-9892-950E5E0626D1}" type="datetime1">
              <a:rPr lang="de-DE" smtClean="0"/>
              <a:t>16.03.2021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CBD465D-C5D1-4DEB-A639-C3A7AE4C6253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© MHP Management- und IT-Beratung GmbH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A341726-AE8D-48B3-8CA5-AD057FE523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AAF2B6C-B770-4E60-BA3A-BFE8F084B1B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DF59C516-515A-4AF8-9F69-4CA3558CB0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rite a „</a:t>
            </a:r>
            <a:r>
              <a:rPr lang="de-DE" dirty="0" err="1"/>
              <a:t>class</a:t>
            </a:r>
            <a:r>
              <a:rPr lang="de-DE" dirty="0"/>
              <a:t>“ in Go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D4D1C0C0-E2F3-45E7-9F83-1DCD0AFB73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40016" y="2024996"/>
            <a:ext cx="4714875" cy="3143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116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D85A0810-21B7-4F31-B88B-4A8FD3389F5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/>
              <a:t>Elements </a:t>
            </a:r>
            <a:r>
              <a:rPr lang="de-DE" dirty="0" err="1"/>
              <a:t>of</a:t>
            </a:r>
            <a:r>
              <a:rPr lang="de-DE" dirty="0"/>
              <a:t> code </a:t>
            </a:r>
            <a:r>
              <a:rPr lang="de-DE" dirty="0" err="1"/>
              <a:t>structure</a:t>
            </a:r>
            <a:endParaRPr lang="de-DE" dirty="0"/>
          </a:p>
          <a:p>
            <a:pPr lvl="1"/>
            <a:r>
              <a:rPr lang="de-DE" b="1" dirty="0" err="1"/>
              <a:t>module</a:t>
            </a:r>
            <a:r>
              <a:rPr lang="de-DE" dirty="0"/>
              <a:t>: </a:t>
            </a:r>
            <a:r>
              <a:rPr lang="de-DE" dirty="0" err="1"/>
              <a:t>each</a:t>
            </a:r>
            <a:r>
              <a:rPr lang="de-DE" dirty="0"/>
              <a:t> </a:t>
            </a:r>
            <a:r>
              <a:rPr lang="de-DE" dirty="0" err="1"/>
              <a:t>git</a:t>
            </a:r>
            <a:r>
              <a:rPr lang="de-DE" dirty="0"/>
              <a:t> </a:t>
            </a:r>
            <a:r>
              <a:rPr lang="de-DE" dirty="0" err="1"/>
              <a:t>repository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represent</a:t>
            </a:r>
            <a:r>
              <a:rPr lang="de-DE" dirty="0"/>
              <a:t> a Go </a:t>
            </a:r>
            <a:r>
              <a:rPr lang="de-DE" dirty="0" err="1"/>
              <a:t>module</a:t>
            </a:r>
            <a:endParaRPr lang="de-DE" dirty="0"/>
          </a:p>
          <a:p>
            <a:pPr lvl="1"/>
            <a:r>
              <a:rPr lang="de-DE" b="1" dirty="0" err="1"/>
              <a:t>package</a:t>
            </a:r>
            <a:r>
              <a:rPr lang="de-DE" b="1" dirty="0"/>
              <a:t>/</a:t>
            </a:r>
            <a:r>
              <a:rPr lang="de-DE" b="1" dirty="0" err="1"/>
              <a:t>imports</a:t>
            </a:r>
            <a:r>
              <a:rPr lang="de-DE" dirty="0"/>
              <a:t>: </a:t>
            </a:r>
            <a:r>
              <a:rPr lang="de-DE" err="1"/>
              <a:t>define</a:t>
            </a:r>
            <a:r>
              <a:rPr lang="de-DE"/>
              <a:t> package in a </a:t>
            </a:r>
            <a:r>
              <a:rPr lang="de-DE" dirty="0" err="1"/>
              <a:t>folder</a:t>
            </a:r>
            <a:r>
              <a:rPr lang="de-DE" dirty="0"/>
              <a:t> and </a:t>
            </a:r>
            <a:r>
              <a:rPr lang="de-DE" dirty="0" err="1"/>
              <a:t>import</a:t>
            </a:r>
            <a:r>
              <a:rPr lang="de-DE" dirty="0"/>
              <a:t> in different </a:t>
            </a:r>
            <a:r>
              <a:rPr lang="de-DE" dirty="0" err="1"/>
              <a:t>packag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same </a:t>
            </a:r>
            <a:r>
              <a:rPr lang="de-DE" dirty="0" err="1"/>
              <a:t>module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across</a:t>
            </a:r>
            <a:r>
              <a:rPr lang="de-DE" dirty="0"/>
              <a:t> </a:t>
            </a:r>
            <a:r>
              <a:rPr lang="de-DE" dirty="0" err="1"/>
              <a:t>modules</a:t>
            </a:r>
            <a:endParaRPr lang="de-DE" dirty="0"/>
          </a:p>
          <a:p>
            <a:pPr lvl="1"/>
            <a:r>
              <a:rPr lang="de-DE" b="1" dirty="0" err="1"/>
              <a:t>struct</a:t>
            </a:r>
            <a:r>
              <a:rPr lang="de-DE" b="1" dirty="0"/>
              <a:t>/interface</a:t>
            </a:r>
            <a:r>
              <a:rPr lang="de-DE" dirty="0"/>
              <a:t>: </a:t>
            </a:r>
            <a:r>
              <a:rPr lang="de-DE" dirty="0" err="1"/>
              <a:t>represent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tructures</a:t>
            </a:r>
            <a:r>
              <a:rPr lang="de-DE" dirty="0"/>
              <a:t> and </a:t>
            </a:r>
            <a:r>
              <a:rPr lang="de-DE" dirty="0" err="1"/>
              <a:t>functional</a:t>
            </a:r>
            <a:r>
              <a:rPr lang="de-DE" dirty="0"/>
              <a:t> </a:t>
            </a:r>
            <a:r>
              <a:rPr lang="de-DE" dirty="0" err="1"/>
              <a:t>interface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tructures</a:t>
            </a:r>
            <a:endParaRPr lang="de-DE" dirty="0"/>
          </a:p>
          <a:p>
            <a:pPr lvl="1"/>
            <a:r>
              <a:rPr lang="de-DE" b="1" dirty="0" err="1"/>
              <a:t>func</a:t>
            </a:r>
            <a:r>
              <a:rPr lang="de-DE" dirty="0"/>
              <a:t>: </a:t>
            </a:r>
            <a:r>
              <a:rPr lang="de-DE" dirty="0" err="1"/>
              <a:t>functions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either</a:t>
            </a:r>
            <a:r>
              <a:rPr lang="de-DE" dirty="0"/>
              <a:t> </a:t>
            </a:r>
            <a:r>
              <a:rPr lang="de-DE" dirty="0" err="1"/>
              <a:t>static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a </a:t>
            </a:r>
            <a:r>
              <a:rPr lang="de-DE" dirty="0" err="1"/>
              <a:t>struct</a:t>
            </a:r>
            <a:r>
              <a:rPr lang="de-DE" dirty="0"/>
              <a:t>/interface </a:t>
            </a:r>
            <a:r>
              <a:rPr lang="de-DE" dirty="0" err="1"/>
              <a:t>receiver</a:t>
            </a:r>
            <a:endParaRPr lang="de-DE" dirty="0"/>
          </a:p>
          <a:p>
            <a:pPr lvl="1"/>
            <a:r>
              <a:rPr lang="de-DE" b="1" dirty="0" err="1"/>
              <a:t>main</a:t>
            </a:r>
            <a:r>
              <a:rPr lang="de-DE" b="1" dirty="0"/>
              <a:t> </a:t>
            </a:r>
            <a:r>
              <a:rPr lang="de-DE" b="1" dirty="0" err="1"/>
              <a:t>func</a:t>
            </a:r>
            <a:r>
              <a:rPr lang="de-DE" dirty="0"/>
              <a:t>: </a:t>
            </a:r>
            <a:r>
              <a:rPr lang="de-DE" dirty="0" err="1"/>
              <a:t>static</a:t>
            </a:r>
            <a:r>
              <a:rPr lang="de-DE" dirty="0"/>
              <a:t> </a:t>
            </a:r>
            <a:r>
              <a:rPr lang="de-DE" dirty="0" err="1"/>
              <a:t>function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serves</a:t>
            </a:r>
            <a:r>
              <a:rPr lang="de-DE" dirty="0"/>
              <a:t> </a:t>
            </a:r>
            <a:r>
              <a:rPr lang="de-DE" dirty="0" err="1"/>
              <a:t>entrypoint</a:t>
            </a:r>
            <a:r>
              <a:rPr lang="de-DE" dirty="0"/>
              <a:t> </a:t>
            </a:r>
            <a:r>
              <a:rPr lang="de-DE" dirty="0" err="1"/>
              <a:t>into</a:t>
            </a:r>
            <a:r>
              <a:rPr lang="de-DE" dirty="0"/>
              <a:t> a Go </a:t>
            </a:r>
            <a:r>
              <a:rPr lang="de-DE" dirty="0" err="1"/>
              <a:t>app</a:t>
            </a:r>
            <a:r>
              <a:rPr lang="de-DE" dirty="0"/>
              <a:t> (</a:t>
            </a:r>
            <a:r>
              <a:rPr lang="de-DE" dirty="0" err="1"/>
              <a:t>always</a:t>
            </a:r>
            <a:r>
              <a:rPr lang="de-DE" dirty="0"/>
              <a:t> </a:t>
            </a:r>
            <a:r>
              <a:rPr lang="de-DE" dirty="0" err="1"/>
              <a:t>located</a:t>
            </a:r>
            <a:r>
              <a:rPr lang="de-DE" dirty="0"/>
              <a:t> in a </a:t>
            </a:r>
            <a:r>
              <a:rPr lang="de-DE" dirty="0" err="1"/>
              <a:t>main</a:t>
            </a:r>
            <a:r>
              <a:rPr lang="de-DE" dirty="0"/>
              <a:t> </a:t>
            </a:r>
            <a:r>
              <a:rPr lang="de-DE" dirty="0" err="1"/>
              <a:t>package</a:t>
            </a:r>
            <a:r>
              <a:rPr lang="de-DE" dirty="0"/>
              <a:t>)</a:t>
            </a:r>
            <a:endParaRPr lang="de-DE" b="1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3E374A8-7C1A-43BB-829E-C015FAF64D8B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43CE7C91-877C-44D6-9892-950E5E0626D1}" type="datetime1">
              <a:rPr lang="de-DE" smtClean="0"/>
              <a:t>16.03.2021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30BDEF1-A426-4171-8758-1DE90ADCB99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© MHP Management- und IT-Beratung GmbH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E4CCA23-D87C-462C-A89C-F817362B918F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5227869-C46B-4886-8770-A83CEE438F8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7C1F98F7-1E5F-405D-8EB9-2A53AD6F34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o code </a:t>
            </a:r>
            <a:r>
              <a:rPr lang="de-DE" dirty="0" err="1"/>
              <a:t>structu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38001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AA3F5A86-F022-4C21-9E1B-20FFE2EE76C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pPr marL="0" lvl="1" indent="0">
              <a:buNone/>
            </a:pPr>
            <a:endParaRPr lang="de-DE" dirty="0"/>
          </a:p>
          <a:p>
            <a:pPr lvl="1"/>
            <a:r>
              <a:rPr lang="de-DE" dirty="0" err="1"/>
              <a:t>similar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packages</a:t>
            </a:r>
            <a:r>
              <a:rPr lang="de-DE" dirty="0"/>
              <a:t> in </a:t>
            </a:r>
            <a:r>
              <a:rPr lang="de-DE" dirty="0" err="1"/>
              <a:t>other</a:t>
            </a:r>
            <a:r>
              <a:rPr lang="de-DE" dirty="0"/>
              <a:t> </a:t>
            </a:r>
            <a:r>
              <a:rPr lang="de-DE" dirty="0" err="1"/>
              <a:t>languages</a:t>
            </a:r>
            <a:endParaRPr lang="de-DE" dirty="0"/>
          </a:p>
          <a:p>
            <a:pPr lvl="1"/>
            <a:r>
              <a:rPr lang="de-DE" dirty="0" err="1"/>
              <a:t>each</a:t>
            </a:r>
            <a:r>
              <a:rPr lang="de-DE" dirty="0"/>
              <a:t> </a:t>
            </a:r>
            <a:r>
              <a:rPr lang="de-DE" dirty="0" err="1"/>
              <a:t>repository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a Go </a:t>
            </a:r>
            <a:r>
              <a:rPr lang="de-DE" dirty="0" err="1"/>
              <a:t>module</a:t>
            </a:r>
            <a:r>
              <a:rPr lang="de-DE" dirty="0"/>
              <a:t>, </a:t>
            </a:r>
            <a:r>
              <a:rPr lang="de-DE" dirty="0" err="1"/>
              <a:t>declared</a:t>
            </a:r>
            <a:r>
              <a:rPr lang="de-DE" dirty="0"/>
              <a:t> via a </a:t>
            </a:r>
            <a:r>
              <a:rPr lang="de-DE" i="1" dirty="0"/>
              <a:t>go.mod</a:t>
            </a:r>
            <a:r>
              <a:rPr lang="de-DE" dirty="0"/>
              <a:t> </a:t>
            </a:r>
            <a:r>
              <a:rPr lang="de-DE" dirty="0" err="1"/>
              <a:t>file</a:t>
            </a:r>
            <a:endParaRPr lang="de-DE" dirty="0"/>
          </a:p>
          <a:p>
            <a:pPr lvl="1"/>
            <a:r>
              <a:rPr lang="de-DE" dirty="0" err="1"/>
              <a:t>modules</a:t>
            </a:r>
            <a:r>
              <a:rPr lang="de-DE" dirty="0"/>
              <a:t> in Go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distributed</a:t>
            </a:r>
            <a:r>
              <a:rPr lang="de-DE" dirty="0"/>
              <a:t> „</a:t>
            </a:r>
            <a:r>
              <a:rPr lang="de-DE" dirty="0" err="1"/>
              <a:t>directly</a:t>
            </a:r>
            <a:r>
              <a:rPr lang="de-DE" dirty="0"/>
              <a:t>“ via </a:t>
            </a:r>
            <a:r>
              <a:rPr lang="de-DE" dirty="0" err="1"/>
              <a:t>the</a:t>
            </a:r>
            <a:r>
              <a:rPr lang="de-DE" dirty="0"/>
              <a:t> VCS, </a:t>
            </a:r>
            <a:r>
              <a:rPr lang="de-DE" dirty="0" err="1"/>
              <a:t>mainly</a:t>
            </a:r>
            <a:r>
              <a:rPr lang="de-DE" dirty="0"/>
              <a:t> </a:t>
            </a:r>
            <a:r>
              <a:rPr lang="de-DE" dirty="0" err="1"/>
              <a:t>git</a:t>
            </a:r>
            <a:endParaRPr lang="de-DE" dirty="0"/>
          </a:p>
          <a:p>
            <a:pPr lvl="1"/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ompile</a:t>
            </a:r>
            <a:r>
              <a:rPr lang="de-DE" dirty="0"/>
              <a:t> a Go </a:t>
            </a:r>
            <a:r>
              <a:rPr lang="de-DE" dirty="0" err="1"/>
              <a:t>binary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go</a:t>
            </a:r>
            <a:r>
              <a:rPr lang="de-DE" dirty="0"/>
              <a:t> </a:t>
            </a:r>
            <a:r>
              <a:rPr lang="de-DE" dirty="0" err="1"/>
              <a:t>compiler</a:t>
            </a:r>
            <a:r>
              <a:rPr lang="de-DE" dirty="0"/>
              <a:t> </a:t>
            </a:r>
            <a:r>
              <a:rPr lang="de-DE" dirty="0" err="1"/>
              <a:t>need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download</a:t>
            </a:r>
            <a:r>
              <a:rPr lang="de-DE" dirty="0"/>
              <a:t> all </a:t>
            </a:r>
            <a:r>
              <a:rPr lang="de-DE" dirty="0" err="1"/>
              <a:t>modules</a:t>
            </a:r>
            <a:r>
              <a:rPr lang="de-DE" dirty="0"/>
              <a:t> source code </a:t>
            </a:r>
            <a:r>
              <a:rPr lang="de-DE" dirty="0" err="1"/>
              <a:t>on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ompiling</a:t>
            </a:r>
            <a:r>
              <a:rPr lang="de-DE" dirty="0"/>
              <a:t> </a:t>
            </a:r>
            <a:r>
              <a:rPr lang="de-DE" dirty="0" err="1"/>
              <a:t>machine</a:t>
            </a:r>
            <a:endParaRPr lang="de-DE" dirty="0"/>
          </a:p>
          <a:p>
            <a:pPr lvl="1"/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B41F524-D7C4-47B8-BDCF-33D33D47CD12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43CE7C91-877C-44D6-9892-950E5E0626D1}" type="datetime1">
              <a:rPr lang="de-DE" smtClean="0"/>
              <a:t>16.03.2021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D765E6E-9522-48C3-B513-40AD9E5E8532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© MHP Management- und IT-Beratung GmbH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B4F350D-BA41-4FF2-BCAC-4588574D488C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4239710-C6F5-42B7-9F9E-0DD0F8CE2CB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42F15420-2F83-422D-92CF-44D0793F52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o Modules</a:t>
            </a:r>
          </a:p>
        </p:txBody>
      </p:sp>
    </p:spTree>
    <p:extLst>
      <p:ext uri="{BB962C8B-B14F-4D97-AF65-F5344CB8AC3E}">
        <p14:creationId xmlns:p14="http://schemas.microsoft.com/office/powerpoint/2010/main" val="938989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3208DC2-F530-4691-9476-F2E42EA0176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pPr lvl="1"/>
            <a:r>
              <a:rPr lang="de-DE" dirty="0" err="1"/>
              <a:t>lowercase</a:t>
            </a:r>
            <a:r>
              <a:rPr lang="de-DE" dirty="0"/>
              <a:t> </a:t>
            </a:r>
            <a:r>
              <a:rPr lang="de-DE" dirty="0" err="1"/>
              <a:t>starting</a:t>
            </a:r>
            <a:r>
              <a:rPr lang="de-DE" dirty="0"/>
              <a:t> </a:t>
            </a:r>
            <a:r>
              <a:rPr lang="de-DE" dirty="0" err="1"/>
              <a:t>letter</a:t>
            </a:r>
            <a:r>
              <a:rPr lang="de-DE" dirty="0"/>
              <a:t> </a:t>
            </a:r>
            <a:r>
              <a:rPr lang="de-DE" dirty="0" err="1"/>
              <a:t>makes</a:t>
            </a:r>
            <a:r>
              <a:rPr lang="de-DE" dirty="0"/>
              <a:t> a </a:t>
            </a:r>
            <a:r>
              <a:rPr lang="de-DE" dirty="0" err="1"/>
              <a:t>property</a:t>
            </a:r>
            <a:r>
              <a:rPr lang="de-DE" dirty="0"/>
              <a:t> </a:t>
            </a:r>
            <a:r>
              <a:rPr lang="de-DE" dirty="0" err="1"/>
              <a:t>package</a:t>
            </a:r>
            <a:r>
              <a:rPr lang="de-DE" dirty="0"/>
              <a:t> internal (</a:t>
            </a:r>
            <a:r>
              <a:rPr lang="de-DE" dirty="0" err="1"/>
              <a:t>reflection</a:t>
            </a:r>
            <a:r>
              <a:rPr lang="de-DE" dirty="0"/>
              <a:t> will not </a:t>
            </a:r>
            <a:r>
              <a:rPr lang="de-DE" dirty="0" err="1"/>
              <a:t>work</a:t>
            </a:r>
            <a:r>
              <a:rPr lang="de-DE" dirty="0"/>
              <a:t>, e.g. on tags)</a:t>
            </a:r>
          </a:p>
          <a:p>
            <a:pPr lvl="1"/>
            <a:r>
              <a:rPr lang="de-DE" dirty="0" err="1"/>
              <a:t>uppercase</a:t>
            </a:r>
            <a:r>
              <a:rPr lang="de-DE" dirty="0"/>
              <a:t> </a:t>
            </a:r>
            <a:r>
              <a:rPr lang="de-DE" dirty="0" err="1"/>
              <a:t>starting</a:t>
            </a:r>
            <a:r>
              <a:rPr lang="de-DE" dirty="0"/>
              <a:t> </a:t>
            </a:r>
            <a:r>
              <a:rPr lang="de-DE" dirty="0" err="1"/>
              <a:t>letter</a:t>
            </a:r>
            <a:r>
              <a:rPr lang="de-DE" dirty="0"/>
              <a:t> </a:t>
            </a:r>
            <a:r>
              <a:rPr lang="de-DE" dirty="0" err="1"/>
              <a:t>makes</a:t>
            </a:r>
            <a:r>
              <a:rPr lang="de-DE" dirty="0"/>
              <a:t> </a:t>
            </a:r>
            <a:r>
              <a:rPr lang="de-DE" dirty="0" err="1"/>
              <a:t>property</a:t>
            </a:r>
            <a:r>
              <a:rPr lang="de-DE" dirty="0"/>
              <a:t> visible outside </a:t>
            </a:r>
            <a:r>
              <a:rPr lang="de-DE" dirty="0" err="1"/>
              <a:t>package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a </a:t>
            </a:r>
            <a:r>
              <a:rPr lang="de-DE" dirty="0" err="1"/>
              <a:t>struc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very</a:t>
            </a:r>
            <a:r>
              <a:rPr lang="de-DE" dirty="0"/>
              <a:t> </a:t>
            </a:r>
            <a:r>
              <a:rPr lang="de-DE" dirty="0" err="1"/>
              <a:t>similar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a C </a:t>
            </a:r>
            <a:r>
              <a:rPr lang="de-DE" dirty="0" err="1"/>
              <a:t>struct</a:t>
            </a:r>
            <a:r>
              <a:rPr lang="de-DE" dirty="0"/>
              <a:t>: </a:t>
            </a:r>
            <a:r>
              <a:rPr lang="de-DE" dirty="0" err="1"/>
              <a:t>memory</a:t>
            </a:r>
            <a:r>
              <a:rPr lang="de-DE" dirty="0"/>
              <a:t> block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fixed</a:t>
            </a:r>
            <a:r>
              <a:rPr lang="de-DE" dirty="0"/>
              <a:t> </a:t>
            </a:r>
            <a:r>
              <a:rPr lang="de-DE" dirty="0" err="1"/>
              <a:t>size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named</a:t>
            </a:r>
            <a:r>
              <a:rPr lang="de-DE" dirty="0"/>
              <a:t> </a:t>
            </a:r>
            <a:r>
              <a:rPr lang="de-DE" dirty="0" err="1"/>
              <a:t>fields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2EBC5BF-671D-4EA8-8245-A3308A329928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43CE7C91-877C-44D6-9892-950E5E0626D1}" type="datetime1">
              <a:rPr lang="de-DE" smtClean="0"/>
              <a:t>16.03.2021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57DFC5B-DF21-4855-94BC-4CACAE702E1E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© MHP Management- und IT-Beratung GmbH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31ABE4D-78C9-4DE3-BB99-689A809DAA6C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78B71ED7-D7C6-4561-BE05-565FF9BF8C1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45C35AED-8839-4A0E-A8C2-BF8A4BC9BD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o </a:t>
            </a:r>
            <a:r>
              <a:rPr lang="de-DE" dirty="0" err="1"/>
              <a:t>Struct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00646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 xmlns:p14="http://schemas.microsoft.com/office/powerpoint/2010/main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_PRESENTER" val="ddd969b99f4de63d55cbadae081c666c3411ba"/>
  <p:tag name="FINNOVA_CATEGORY" val="No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HP PowerPoint Template 2017">
  <a:themeElements>
    <a:clrScheme name="MHP">
      <a:dk1>
        <a:sysClr val="windowText" lastClr="000000"/>
      </a:dk1>
      <a:lt1>
        <a:sysClr val="window" lastClr="FFFFFF"/>
      </a:lt1>
      <a:dk2>
        <a:srgbClr val="575757"/>
      </a:dk2>
      <a:lt2>
        <a:srgbClr val="BEBEBE"/>
      </a:lt2>
      <a:accent1>
        <a:srgbClr val="000099"/>
      </a:accent1>
      <a:accent2>
        <a:srgbClr val="009BD2"/>
      </a:accent2>
      <a:accent3>
        <a:srgbClr val="9DCCE6"/>
      </a:accent3>
      <a:accent4>
        <a:srgbClr val="F5C500"/>
      </a:accent4>
      <a:accent5>
        <a:srgbClr val="87BC49"/>
      </a:accent5>
      <a:accent6>
        <a:srgbClr val="8FC087"/>
      </a:accent6>
      <a:hlink>
        <a:srgbClr val="000000"/>
      </a:hlink>
      <a:folHlink>
        <a:srgbClr val="000000"/>
      </a:folHlink>
    </a:clrScheme>
    <a:fontScheme name="MHP Segoe UI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80000"/>
          </a:lnSpc>
          <a:defRPr sz="1400" b="1" dirty="0" err="1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2"/>
          </a:solidFill>
          <a:miter lim="800000"/>
          <a:headEnd type="none" w="lg" len="med"/>
          <a:tailEnd type="none" w="lg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 marL="180000" indent="-180000" algn="l">
          <a:spcBef>
            <a:spcPts val="200"/>
          </a:spcBef>
          <a:spcAft>
            <a:spcPts val="200"/>
          </a:spcAft>
          <a:buClr>
            <a:schemeClr val="accent1"/>
          </a:buClr>
          <a:buFont typeface="Wingdings" panose="05000000000000000000" pitchFamily="2" charset="2"/>
          <a:buChar char="§"/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HP_Template_2018_16-9_DE_08_EXP" id="{E33D701B-B5D0-4F7E-A25A-EE1CA49B9468}" vid="{49FD3652-60DB-4E15-A215-3365BCE38AC5}"/>
    </a:ext>
  </a:extLst>
</a:theme>
</file>

<file path=ppt/theme/theme2.xml><?xml version="1.0" encoding="utf-8"?>
<a:theme xmlns:a="http://schemas.openxmlformats.org/drawingml/2006/main" name="Larissa">
  <a:themeElements>
    <a:clrScheme name="MHP">
      <a:dk1>
        <a:sysClr val="windowText" lastClr="000000"/>
      </a:dk1>
      <a:lt1>
        <a:sysClr val="window" lastClr="FFFFFF"/>
      </a:lt1>
      <a:dk2>
        <a:srgbClr val="575757"/>
      </a:dk2>
      <a:lt2>
        <a:srgbClr val="BEBEBE"/>
      </a:lt2>
      <a:accent1>
        <a:srgbClr val="000099"/>
      </a:accent1>
      <a:accent2>
        <a:srgbClr val="009BD2"/>
      </a:accent2>
      <a:accent3>
        <a:srgbClr val="9DCCE6"/>
      </a:accent3>
      <a:accent4>
        <a:srgbClr val="F5C500"/>
      </a:accent4>
      <a:accent5>
        <a:srgbClr val="87BC49"/>
      </a:accent5>
      <a:accent6>
        <a:srgbClr val="8FC087"/>
      </a:accent6>
      <a:hlink>
        <a:srgbClr val="000000"/>
      </a:hlink>
      <a:folHlink>
        <a:srgbClr val="000000"/>
      </a:folHlink>
    </a:clrScheme>
    <a:fontScheme name="MHP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80000"/>
          </a:lnSpc>
          <a:defRPr sz="1000" b="1" dirty="0" err="1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2"/>
          </a:solidFill>
          <a:miter lim="800000"/>
          <a:headEnd type="none" w="lg" len="med"/>
          <a:tailEnd type="none" w="lg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 marL="180000" indent="-180000" algn="l">
          <a:spcBef>
            <a:spcPts val="200"/>
          </a:spcBef>
          <a:spcAft>
            <a:spcPts val="200"/>
          </a:spcAft>
          <a:buClr>
            <a:schemeClr val="accent1"/>
          </a:buClr>
          <a:buFont typeface="Wingdings" panose="05000000000000000000" pitchFamily="2" charset="2"/>
          <a:buChar char="§"/>
          <a:defRPr sz="1000" dirty="0" err="1" smtClean="0">
            <a:solidFill>
              <a:schemeClr val="tx2"/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MHP">
      <a:dk1>
        <a:sysClr val="windowText" lastClr="000000"/>
      </a:dk1>
      <a:lt1>
        <a:sysClr val="window" lastClr="FFFFFF"/>
      </a:lt1>
      <a:dk2>
        <a:srgbClr val="575757"/>
      </a:dk2>
      <a:lt2>
        <a:srgbClr val="BEBEBE"/>
      </a:lt2>
      <a:accent1>
        <a:srgbClr val="000099"/>
      </a:accent1>
      <a:accent2>
        <a:srgbClr val="009BD2"/>
      </a:accent2>
      <a:accent3>
        <a:srgbClr val="9DCCE6"/>
      </a:accent3>
      <a:accent4>
        <a:srgbClr val="F5C500"/>
      </a:accent4>
      <a:accent5>
        <a:srgbClr val="87BC49"/>
      </a:accent5>
      <a:accent6>
        <a:srgbClr val="8FC087"/>
      </a:accent6>
      <a:hlink>
        <a:srgbClr val="000000"/>
      </a:hlink>
      <a:folHlink>
        <a:srgbClr val="000000"/>
      </a:folHlink>
    </a:clrScheme>
    <a:fontScheme name="MHP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80000"/>
          </a:lnSpc>
          <a:defRPr sz="1400" b="1" dirty="0" err="1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2"/>
          </a:solidFill>
          <a:miter lim="800000"/>
          <a:headEnd type="none" w="lg" len="med"/>
          <a:tailEnd type="none" w="lg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 marL="180000" indent="-180000">
          <a:spcBef>
            <a:spcPts val="200"/>
          </a:spcBef>
          <a:spcAft>
            <a:spcPts val="200"/>
          </a:spcAft>
          <a:buClr>
            <a:schemeClr val="accent1"/>
          </a:buClr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Version xmlns="http://schemas.microsoft.com/sharepoint/v3/fields" xsi:nil="true"/>
    <_Status xmlns="http://schemas.microsoft.com/sharepoint/v3/fields">Not Started</_Statu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DE64AEEDD9B7A4D93545ACBE97D4615" ma:contentTypeVersion="2" ma:contentTypeDescription="Create a new document." ma:contentTypeScope="" ma:versionID="f49002b78e3a4a71b814eef46a983816">
  <xsd:schema xmlns:xsd="http://www.w3.org/2001/XMLSchema" xmlns:xs="http://www.w3.org/2001/XMLSchema" xmlns:p="http://schemas.microsoft.com/office/2006/metadata/properties" xmlns:ns2="http://schemas.microsoft.com/sharepoint/v3/fields" targetNamespace="http://schemas.microsoft.com/office/2006/metadata/properties" ma:root="true" ma:fieldsID="38f6db2dd0d9a0cf6a8dc37be32b365b" ns2:_="">
    <xsd:import namespace="http://schemas.microsoft.com/sharepoint/v3/fields"/>
    <xsd:element name="properties">
      <xsd:complexType>
        <xsd:sequence>
          <xsd:element name="documentManagement">
            <xsd:complexType>
              <xsd:all>
                <xsd:element ref="ns2:_Status" minOccurs="0"/>
                <xsd:element ref="ns2:_Vers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Status" ma:index="8" nillable="true" ma:displayName="Status" ma:default="Not Started" ma:internalName="_Status">
      <xsd:simpleType>
        <xsd:union memberTypes="dms:Text">
          <xsd:simpleType>
            <xsd:restriction base="dms:Choice">
              <xsd:enumeration value="Not Started"/>
              <xsd:enumeration value="Draft"/>
              <xsd:enumeration value="Reviewed"/>
              <xsd:enumeration value="Scheduled"/>
              <xsd:enumeration value="Published"/>
              <xsd:enumeration value="Final"/>
              <xsd:enumeration value="Expired"/>
            </xsd:restriction>
          </xsd:simpleType>
        </xsd:union>
      </xsd:simpleType>
    </xsd:element>
    <xsd:element name="_Version" ma:index="9" nillable="true" ma:displayName="Version" ma:internalName="_Version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 ma:displayName="Status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7D2A1B0-FF3E-4009-940D-AED0EB70AA2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B6F2769-7194-4217-93D3-3AF3A4742282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schemas.microsoft.com/sharepoint/v3/field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E4214858-785C-42F7-BE66-6D0E79395FC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/field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HP_Template_2018_16-9_DE_08</Template>
  <TotalTime>0</TotalTime>
  <Words>1211</Words>
  <Application>Microsoft Office PowerPoint</Application>
  <PresentationFormat>Breitbild</PresentationFormat>
  <Paragraphs>196</Paragraphs>
  <Slides>20</Slides>
  <Notes>11</Notes>
  <HiddenSlides>3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0</vt:i4>
      </vt:variant>
    </vt:vector>
  </HeadingPairs>
  <TitlesOfParts>
    <vt:vector size="26" baseType="lpstr">
      <vt:lpstr>Arial</vt:lpstr>
      <vt:lpstr>Segoe UI</vt:lpstr>
      <vt:lpstr>Symbol</vt:lpstr>
      <vt:lpstr>Wingdings</vt:lpstr>
      <vt:lpstr>MHP PowerPoint Template 2017</vt:lpstr>
      <vt:lpstr>think-cell Folie</vt:lpstr>
      <vt:lpstr>PowerPoint-Präsentation</vt:lpstr>
      <vt:lpstr>QuickWin: Learn a little bit of GO</vt:lpstr>
      <vt:lpstr>Agenda</vt:lpstr>
      <vt:lpstr>PowerPoint-Präsentation</vt:lpstr>
      <vt:lpstr>Introducing to you: “Go”</vt:lpstr>
      <vt:lpstr>Write a „class“ in Go</vt:lpstr>
      <vt:lpstr>Go code structure</vt:lpstr>
      <vt:lpstr>Go Modules</vt:lpstr>
      <vt:lpstr>Go Structs</vt:lpstr>
      <vt:lpstr>Go Unit Testing</vt:lpstr>
      <vt:lpstr>Whats a microservice anyhow?</vt:lpstr>
      <vt:lpstr>Microservice tech guidelines</vt:lpstr>
      <vt:lpstr>Microservice Features</vt:lpstr>
      <vt:lpstr>Setup Dev Environment</vt:lpstr>
      <vt:lpstr>Implement service</vt:lpstr>
      <vt:lpstr>PowerPoint-Präsentation</vt:lpstr>
      <vt:lpstr>PowerPoint-Präsentation</vt:lpstr>
      <vt:lpstr>Erklärung der Textebenen,  Segoe UI, 20pt, blau</vt:lpstr>
      <vt:lpstr>Erklärung  der Layouts</vt:lpstr>
      <vt:lpstr>Erklärung  des Rasters</vt:lpstr>
    </vt:vector>
  </TitlesOfParts>
  <Company>Mieschke Hofmann und Partne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Jochen Grün (ISO)</dc:creator>
  <cp:lastModifiedBy>Jochen Grün (ISO)</cp:lastModifiedBy>
  <cp:revision>1</cp:revision>
  <cp:lastPrinted>2016-01-13T10:07:22Z</cp:lastPrinted>
  <dcterms:created xsi:type="dcterms:W3CDTF">2021-03-09T08:14:01Z</dcterms:created>
  <dcterms:modified xsi:type="dcterms:W3CDTF">2021-03-16T14:50:42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DE64AEEDD9B7A4D93545ACBE97D4615</vt:lpwstr>
  </property>
</Properties>
</file>